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slideLayouts/slideLayout46.xml" ContentType="application/vnd.openxmlformats-officedocument.presentationml.slideLayout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diagrams/layout1.xml" ContentType="application/vnd.openxmlformats-officedocument.drawingml.diagramLayout+xml"/>
  <Override PartName="/ppt/tags/tag41.xml" ContentType="application/vnd.openxmlformats-officedocument.presentationml.tags+xml"/>
  <Override PartName="/ppt/diagrams/data2.xml" ContentType="application/vnd.openxmlformats-officedocument.drawingml.diagramData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diagrams/quickStyle3.xml" ContentType="application/vnd.openxmlformats-officedocument.drawingml.diagramStyle+xml"/>
  <Override PartName="/ppt/slides/slide33.xml" ContentType="application/vnd.openxmlformats-officedocument.presentationml.slide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diagrams/layout2.xml" ContentType="application/vnd.openxmlformats-officedocument.drawingml.diagramLayout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diagrams/data3.xml" ContentType="application/vnd.openxmlformats-officedocument.drawingml.diagramData+xml"/>
  <Override PartName="/ppt/slideMasters/slideMaster5.xml" ContentType="application/vnd.openxmlformats-officedocument.presentationml.slideMaster+xml"/>
  <Override PartName="/ppt/handoutMasters/handoutMaster1.xml" ContentType="application/vnd.openxmlformats-officedocument.presentationml.handoutMaster+xml"/>
  <Override PartName="/ppt/theme/theme7.xml" ContentType="application/vnd.openxmlformats-officedocument.theme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diagrams/layout3.xml" ContentType="application/vnd.openxmlformats-officedocument.drawingml.diagramLayout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diagrams/colors3.xml" ContentType="application/vnd.openxmlformats-officedocument.drawingml.diagramColors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s/slide32.xml" ContentType="application/vnd.openxmlformats-officedocument.presentationml.slide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73" r:id="rId3"/>
    <p:sldMasterId id="2147483685" r:id="rId4"/>
    <p:sldMasterId id="2147483697" r:id="rId5"/>
  </p:sldMasterIdLst>
  <p:notesMasterIdLst>
    <p:notesMasterId r:id="rId43"/>
  </p:notesMasterIdLst>
  <p:handoutMasterIdLst>
    <p:handoutMasterId r:id="rId44"/>
  </p:handoutMasterIdLst>
  <p:sldIdLst>
    <p:sldId id="338" r:id="rId6"/>
    <p:sldId id="301" r:id="rId7"/>
    <p:sldId id="333" r:id="rId8"/>
    <p:sldId id="335" r:id="rId9"/>
    <p:sldId id="361" r:id="rId10"/>
    <p:sldId id="348" r:id="rId11"/>
    <p:sldId id="362" r:id="rId12"/>
    <p:sldId id="349" r:id="rId13"/>
    <p:sldId id="347" r:id="rId14"/>
    <p:sldId id="360" r:id="rId15"/>
    <p:sldId id="363" r:id="rId16"/>
    <p:sldId id="364" r:id="rId17"/>
    <p:sldId id="365" r:id="rId18"/>
    <p:sldId id="366" r:id="rId19"/>
    <p:sldId id="368" r:id="rId20"/>
    <p:sldId id="370" r:id="rId21"/>
    <p:sldId id="367" r:id="rId22"/>
    <p:sldId id="379" r:id="rId23"/>
    <p:sldId id="369" r:id="rId24"/>
    <p:sldId id="353" r:id="rId25"/>
    <p:sldId id="354" r:id="rId26"/>
    <p:sldId id="352" r:id="rId27"/>
    <p:sldId id="355" r:id="rId28"/>
    <p:sldId id="326" r:id="rId29"/>
    <p:sldId id="372" r:id="rId30"/>
    <p:sldId id="373" r:id="rId31"/>
    <p:sldId id="374" r:id="rId32"/>
    <p:sldId id="375" r:id="rId33"/>
    <p:sldId id="378" r:id="rId34"/>
    <p:sldId id="376" r:id="rId35"/>
    <p:sldId id="377" r:id="rId36"/>
    <p:sldId id="380" r:id="rId37"/>
    <p:sldId id="371" r:id="rId38"/>
    <p:sldId id="341" r:id="rId39"/>
    <p:sldId id="344" r:id="rId40"/>
    <p:sldId id="345" r:id="rId41"/>
    <p:sldId id="339" r:id="rId42"/>
  </p:sldIdLst>
  <p:sldSz cx="12192000" cy="6858000"/>
  <p:notesSz cx="6858000" cy="93138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8E836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6503" autoAdjust="0"/>
    <p:restoredTop sz="94660"/>
  </p:normalViewPr>
  <p:slideViewPr>
    <p:cSldViewPr snapToGrid="0">
      <p:cViewPr varScale="1">
        <p:scale>
          <a:sx n="50" d="100"/>
          <a:sy n="50" d="100"/>
        </p:scale>
        <p:origin x="-582" y="-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image" Target="../media/image7.jpeg"/><Relationship Id="rId4" Type="http://schemas.openxmlformats.org/officeDocument/2006/relationships/image" Target="../media/image1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49393ED-8113-4F3A-A4D0-FB5E5A4B9805}" type="doc">
      <dgm:prSet loTypeId="urn:microsoft.com/office/officeart/2005/8/layout/vList3#1" loCatId="list" qsTypeId="urn:microsoft.com/office/officeart/2005/8/quickstyle/simple1" qsCatId="simple" csTypeId="urn:microsoft.com/office/officeart/2005/8/colors/colorful5" csCatId="colorful" phldr="1"/>
      <dgm:spPr/>
    </dgm:pt>
    <dgm:pt modelId="{ACF34373-467F-478B-A7EA-C6F4D449E56F}">
      <dgm:prSet phldrT="[Text]"/>
      <dgm:spPr/>
      <dgm:t>
        <a:bodyPr/>
        <a:lstStyle/>
        <a:p>
          <a:r>
            <a:rPr lang="id-ID" dirty="0" smtClean="0"/>
            <a:t>Selayang Pandang</a:t>
          </a:r>
          <a:endParaRPr lang="en-US" dirty="0"/>
        </a:p>
      </dgm:t>
    </dgm:pt>
    <dgm:pt modelId="{873877FF-9BDE-48FE-99E1-BC9021A3F7EB}" type="parTrans" cxnId="{9929E398-77D6-4CA5-B45A-A3F5A21F5026}">
      <dgm:prSet/>
      <dgm:spPr/>
      <dgm:t>
        <a:bodyPr/>
        <a:lstStyle/>
        <a:p>
          <a:endParaRPr lang="en-US"/>
        </a:p>
      </dgm:t>
    </dgm:pt>
    <dgm:pt modelId="{A9234AC7-9EE0-48BC-B3D9-505249A695E7}" type="sibTrans" cxnId="{9929E398-77D6-4CA5-B45A-A3F5A21F5026}">
      <dgm:prSet/>
      <dgm:spPr/>
      <dgm:t>
        <a:bodyPr/>
        <a:lstStyle/>
        <a:p>
          <a:endParaRPr lang="en-US"/>
        </a:p>
      </dgm:t>
    </dgm:pt>
    <dgm:pt modelId="{ADE525FC-D97D-4878-9DB3-9FD3ADDDC636}">
      <dgm:prSet phldrT="[Text]" custT="1"/>
      <dgm:spPr/>
      <dgm:t>
        <a:bodyPr/>
        <a:lstStyle/>
        <a:p>
          <a:r>
            <a:rPr lang="id-ID" sz="4400" dirty="0" smtClean="0"/>
            <a:t>Produk &amp; Program </a:t>
          </a:r>
          <a:r>
            <a:rPr lang="id-ID" sz="4400" dirty="0" err="1" smtClean="0"/>
            <a:t>Unggulan</a:t>
          </a:r>
          <a:endParaRPr lang="en-US" sz="4400" dirty="0"/>
        </a:p>
      </dgm:t>
    </dgm:pt>
    <dgm:pt modelId="{216B81A3-4680-4E27-9425-CB475FAE3B81}" type="parTrans" cxnId="{C252DDEA-78F5-4BEC-8ED2-BCF745DD6930}">
      <dgm:prSet/>
      <dgm:spPr/>
      <dgm:t>
        <a:bodyPr/>
        <a:lstStyle/>
        <a:p>
          <a:endParaRPr lang="en-US"/>
        </a:p>
      </dgm:t>
    </dgm:pt>
    <dgm:pt modelId="{8D29E014-2654-4CB8-92D3-E77D6613B3E5}" type="sibTrans" cxnId="{C252DDEA-78F5-4BEC-8ED2-BCF745DD6930}">
      <dgm:prSet/>
      <dgm:spPr/>
      <dgm:t>
        <a:bodyPr/>
        <a:lstStyle/>
        <a:p>
          <a:endParaRPr lang="en-US"/>
        </a:p>
      </dgm:t>
    </dgm:pt>
    <dgm:pt modelId="{A704B69B-107A-438D-8FEF-CBEFAAEF16F4}">
      <dgm:prSet phldrT="[Text]"/>
      <dgm:spPr/>
      <dgm:t>
        <a:bodyPr/>
        <a:lstStyle/>
        <a:p>
          <a:r>
            <a:rPr lang="id-ID" dirty="0" smtClean="0"/>
            <a:t>Layanan </a:t>
          </a:r>
          <a:r>
            <a:rPr lang="id-ID" dirty="0" err="1" smtClean="0"/>
            <a:t>Unggulan</a:t>
          </a:r>
          <a:endParaRPr lang="en-US" dirty="0"/>
        </a:p>
      </dgm:t>
    </dgm:pt>
    <dgm:pt modelId="{225653FE-8CFF-44B2-B386-80BD51A864AE}" type="parTrans" cxnId="{F67D79B0-69B9-486E-90A1-666DEF36520E}">
      <dgm:prSet/>
      <dgm:spPr/>
      <dgm:t>
        <a:bodyPr/>
        <a:lstStyle/>
        <a:p>
          <a:endParaRPr lang="en-US"/>
        </a:p>
      </dgm:t>
    </dgm:pt>
    <dgm:pt modelId="{B1DCE542-F286-48EB-A754-D088D1C5F67D}" type="sibTrans" cxnId="{F67D79B0-69B9-486E-90A1-666DEF36520E}">
      <dgm:prSet/>
      <dgm:spPr/>
      <dgm:t>
        <a:bodyPr/>
        <a:lstStyle/>
        <a:p>
          <a:endParaRPr lang="en-US"/>
        </a:p>
      </dgm:t>
    </dgm:pt>
    <dgm:pt modelId="{1C2F8EA2-0871-41D5-9C62-003E4932D28F}">
      <dgm:prSet phldrT="[Text]" custT="1"/>
      <dgm:spPr/>
      <dgm:t>
        <a:bodyPr/>
        <a:lstStyle/>
        <a:p>
          <a:r>
            <a:rPr lang="id-ID" sz="4000" dirty="0" smtClean="0"/>
            <a:t>Mengapa ke Bank Mantap ?</a:t>
          </a:r>
          <a:endParaRPr lang="en-US" sz="4000" dirty="0"/>
        </a:p>
      </dgm:t>
    </dgm:pt>
    <dgm:pt modelId="{7FFDAA3B-69DF-4F13-B7C9-81F8554F4186}" type="parTrans" cxnId="{7C255890-F27B-4FC0-BAE2-4A8D3F71229C}">
      <dgm:prSet/>
      <dgm:spPr/>
      <dgm:t>
        <a:bodyPr/>
        <a:lstStyle/>
        <a:p>
          <a:endParaRPr lang="en-US"/>
        </a:p>
      </dgm:t>
    </dgm:pt>
    <dgm:pt modelId="{B3C05F09-16EA-420A-9E93-7BA92613003C}" type="sibTrans" cxnId="{7C255890-F27B-4FC0-BAE2-4A8D3F71229C}">
      <dgm:prSet/>
      <dgm:spPr/>
      <dgm:t>
        <a:bodyPr/>
        <a:lstStyle/>
        <a:p>
          <a:endParaRPr lang="en-US"/>
        </a:p>
      </dgm:t>
    </dgm:pt>
    <dgm:pt modelId="{6FD8A916-CDD2-4354-85B0-7049F4D7FF48}" type="pres">
      <dgm:prSet presAssocID="{749393ED-8113-4F3A-A4D0-FB5E5A4B9805}" presName="linearFlow" presStyleCnt="0">
        <dgm:presLayoutVars>
          <dgm:dir/>
          <dgm:resizeHandles val="exact"/>
        </dgm:presLayoutVars>
      </dgm:prSet>
      <dgm:spPr/>
    </dgm:pt>
    <dgm:pt modelId="{C9CB316E-92CD-454B-9F48-6BBDBD09852F}" type="pres">
      <dgm:prSet presAssocID="{ACF34373-467F-478B-A7EA-C6F4D449E56F}" presName="composite" presStyleCnt="0"/>
      <dgm:spPr/>
    </dgm:pt>
    <dgm:pt modelId="{AB3D2A67-75D9-4952-B96E-57FC3960D8BB}" type="pres">
      <dgm:prSet presAssocID="{ACF34373-467F-478B-A7EA-C6F4D449E56F}" presName="imgShp" presStyleLbl="fgImgPlac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30000" r="-30000"/>
          </a:stretch>
        </a:blipFill>
      </dgm:spPr>
    </dgm:pt>
    <dgm:pt modelId="{83980B30-B6D4-4EDB-A7C9-3CE4428E1FBD}" type="pres">
      <dgm:prSet presAssocID="{ACF34373-467F-478B-A7EA-C6F4D449E56F}" presName="txShp" presStyleLbl="node1" presStyleIdx="0" presStyleCnt="4" custScaleX="114689" custLinFactNeighborY="89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E4B7ED0-CA22-42F9-8687-02FBD0A8558B}" type="pres">
      <dgm:prSet presAssocID="{A9234AC7-9EE0-48BC-B3D9-505249A695E7}" presName="spacing" presStyleCnt="0"/>
      <dgm:spPr/>
    </dgm:pt>
    <dgm:pt modelId="{06B1FE00-DBD0-40D5-BC01-1F7E764A6D07}" type="pres">
      <dgm:prSet presAssocID="{ADE525FC-D97D-4878-9DB3-9FD3ADDDC636}" presName="composite" presStyleCnt="0"/>
      <dgm:spPr/>
    </dgm:pt>
    <dgm:pt modelId="{7C627734-46B9-4A8F-851A-CDE5EBE40C75}" type="pres">
      <dgm:prSet presAssocID="{ADE525FC-D97D-4878-9DB3-9FD3ADDDC636}" presName="imgShp" presStyleLbl="fgImgPlace1" presStyleIdx="1" presStyleCnt="4" custLinFactY="100000" custLinFactNeighborX="-2434" custLinFactNeighborY="159821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t="-15000" b="-15000"/>
          </a:stretch>
        </a:blipFill>
      </dgm:spPr>
    </dgm:pt>
    <dgm:pt modelId="{B19E0C40-FEB0-4B44-A5CB-9AF81FF60887}" type="pres">
      <dgm:prSet presAssocID="{ADE525FC-D97D-4878-9DB3-9FD3ADDDC636}" presName="txShp" presStyleLbl="node1" presStyleIdx="1" presStyleCnt="4" custScaleX="113960" custLinFactY="100000" custLinFactNeighborX="-363" custLinFactNeighborY="15982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60DC9F1-FDE3-4491-8656-1935C8056523}" type="pres">
      <dgm:prSet presAssocID="{8D29E014-2654-4CB8-92D3-E77D6613B3E5}" presName="spacing" presStyleCnt="0"/>
      <dgm:spPr/>
    </dgm:pt>
    <dgm:pt modelId="{3DEE163A-9421-479B-888D-4C9CAB9DCAE4}" type="pres">
      <dgm:prSet presAssocID="{A704B69B-107A-438D-8FEF-CBEFAAEF16F4}" presName="composite" presStyleCnt="0"/>
      <dgm:spPr/>
    </dgm:pt>
    <dgm:pt modelId="{6A42C53A-B5A3-47F2-9128-4AC7A12DD75F}" type="pres">
      <dgm:prSet presAssocID="{A704B69B-107A-438D-8FEF-CBEFAAEF16F4}" presName="imgShp" presStyleLbl="fgImgPlace1" presStyleIdx="2" presStyleCnt="4" custLinFactY="-24908" custLinFactNeighborX="-2108" custLinFactNeighborY="-100000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40000" r="-40000"/>
          </a:stretch>
        </a:blipFill>
      </dgm:spPr>
    </dgm:pt>
    <dgm:pt modelId="{B5AFE25A-9815-4A73-8104-DD17231BCA53}" type="pres">
      <dgm:prSet presAssocID="{A704B69B-107A-438D-8FEF-CBEFAAEF16F4}" presName="txShp" presStyleLbl="node1" presStyleIdx="2" presStyleCnt="4" custScaleX="114933" custLinFactY="-24908" custLinFactNeighborX="-182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A67C711-39EF-4400-A670-9A74B99708AE}" type="pres">
      <dgm:prSet presAssocID="{B1DCE542-F286-48EB-A754-D088D1C5F67D}" presName="spacing" presStyleCnt="0"/>
      <dgm:spPr/>
    </dgm:pt>
    <dgm:pt modelId="{01EF6A56-A765-46A2-851F-6B370979F18C}" type="pres">
      <dgm:prSet presAssocID="{1C2F8EA2-0871-41D5-9C62-003E4932D28F}" presName="composite" presStyleCnt="0"/>
      <dgm:spPr/>
    </dgm:pt>
    <dgm:pt modelId="{125D4FE7-8632-447C-8E9B-D8F72474FF2B}" type="pres">
      <dgm:prSet presAssocID="{1C2F8EA2-0871-41D5-9C62-003E4932D28F}" presName="imgShp" presStyleLbl="fgImgPlace1" presStyleIdx="3" presStyleCnt="4" custLinFactY="-21428" custLinFactNeighborX="-3324" custLinFactNeighborY="-100000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 l="-2000" r="-2000"/>
          </a:stretch>
        </a:blipFill>
      </dgm:spPr>
    </dgm:pt>
    <dgm:pt modelId="{2FBE873E-6472-4844-B773-09E7312D71E0}" type="pres">
      <dgm:prSet presAssocID="{1C2F8EA2-0871-41D5-9C62-003E4932D28F}" presName="txShp" presStyleLbl="node1" presStyleIdx="3" presStyleCnt="4" custScaleX="114933" custLinFactY="-21548" custLinFactNeighborX="-364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159EC1D-8BA8-45E3-97CA-0EEF49E09CDE}" type="presOf" srcId="{ADE525FC-D97D-4878-9DB3-9FD3ADDDC636}" destId="{B19E0C40-FEB0-4B44-A5CB-9AF81FF60887}" srcOrd="0" destOrd="0" presId="urn:microsoft.com/office/officeart/2005/8/layout/vList3#1"/>
    <dgm:cxn modelId="{F67D79B0-69B9-486E-90A1-666DEF36520E}" srcId="{749393ED-8113-4F3A-A4D0-FB5E5A4B9805}" destId="{A704B69B-107A-438D-8FEF-CBEFAAEF16F4}" srcOrd="2" destOrd="0" parTransId="{225653FE-8CFF-44B2-B386-80BD51A864AE}" sibTransId="{B1DCE542-F286-48EB-A754-D088D1C5F67D}"/>
    <dgm:cxn modelId="{C25EDC19-B521-40AC-B12A-B9A9EC801FAE}" type="presOf" srcId="{1C2F8EA2-0871-41D5-9C62-003E4932D28F}" destId="{2FBE873E-6472-4844-B773-09E7312D71E0}" srcOrd="0" destOrd="0" presId="urn:microsoft.com/office/officeart/2005/8/layout/vList3#1"/>
    <dgm:cxn modelId="{7C255890-F27B-4FC0-BAE2-4A8D3F71229C}" srcId="{749393ED-8113-4F3A-A4D0-FB5E5A4B9805}" destId="{1C2F8EA2-0871-41D5-9C62-003E4932D28F}" srcOrd="3" destOrd="0" parTransId="{7FFDAA3B-69DF-4F13-B7C9-81F8554F4186}" sibTransId="{B3C05F09-16EA-420A-9E93-7BA92613003C}"/>
    <dgm:cxn modelId="{C252DDEA-78F5-4BEC-8ED2-BCF745DD6930}" srcId="{749393ED-8113-4F3A-A4D0-FB5E5A4B9805}" destId="{ADE525FC-D97D-4878-9DB3-9FD3ADDDC636}" srcOrd="1" destOrd="0" parTransId="{216B81A3-4680-4E27-9425-CB475FAE3B81}" sibTransId="{8D29E014-2654-4CB8-92D3-E77D6613B3E5}"/>
    <dgm:cxn modelId="{9929E398-77D6-4CA5-B45A-A3F5A21F5026}" srcId="{749393ED-8113-4F3A-A4D0-FB5E5A4B9805}" destId="{ACF34373-467F-478B-A7EA-C6F4D449E56F}" srcOrd="0" destOrd="0" parTransId="{873877FF-9BDE-48FE-99E1-BC9021A3F7EB}" sibTransId="{A9234AC7-9EE0-48BC-B3D9-505249A695E7}"/>
    <dgm:cxn modelId="{A3F671AE-0165-4408-AEFD-B0D8186EED37}" type="presOf" srcId="{749393ED-8113-4F3A-A4D0-FB5E5A4B9805}" destId="{6FD8A916-CDD2-4354-85B0-7049F4D7FF48}" srcOrd="0" destOrd="0" presId="urn:microsoft.com/office/officeart/2005/8/layout/vList3#1"/>
    <dgm:cxn modelId="{9499ACFB-6C2A-4CA2-BCF6-E9759345F4D1}" type="presOf" srcId="{ACF34373-467F-478B-A7EA-C6F4D449E56F}" destId="{83980B30-B6D4-4EDB-A7C9-3CE4428E1FBD}" srcOrd="0" destOrd="0" presId="urn:microsoft.com/office/officeart/2005/8/layout/vList3#1"/>
    <dgm:cxn modelId="{40E8FD2F-91CC-4243-BABD-5A949094D2AA}" type="presOf" srcId="{A704B69B-107A-438D-8FEF-CBEFAAEF16F4}" destId="{B5AFE25A-9815-4A73-8104-DD17231BCA53}" srcOrd="0" destOrd="0" presId="urn:microsoft.com/office/officeart/2005/8/layout/vList3#1"/>
    <dgm:cxn modelId="{01C5A62F-4F87-48F9-A041-C0D403ED197F}" type="presParOf" srcId="{6FD8A916-CDD2-4354-85B0-7049F4D7FF48}" destId="{C9CB316E-92CD-454B-9F48-6BBDBD09852F}" srcOrd="0" destOrd="0" presId="urn:microsoft.com/office/officeart/2005/8/layout/vList3#1"/>
    <dgm:cxn modelId="{E6406900-B38B-4BE9-8C41-DCF6109CA135}" type="presParOf" srcId="{C9CB316E-92CD-454B-9F48-6BBDBD09852F}" destId="{AB3D2A67-75D9-4952-B96E-57FC3960D8BB}" srcOrd="0" destOrd="0" presId="urn:microsoft.com/office/officeart/2005/8/layout/vList3#1"/>
    <dgm:cxn modelId="{27DBAB67-8344-407E-99ED-DBEE5A9628DD}" type="presParOf" srcId="{C9CB316E-92CD-454B-9F48-6BBDBD09852F}" destId="{83980B30-B6D4-4EDB-A7C9-3CE4428E1FBD}" srcOrd="1" destOrd="0" presId="urn:microsoft.com/office/officeart/2005/8/layout/vList3#1"/>
    <dgm:cxn modelId="{C322C389-342A-4005-ADC8-A5609932F9A8}" type="presParOf" srcId="{6FD8A916-CDD2-4354-85B0-7049F4D7FF48}" destId="{6E4B7ED0-CA22-42F9-8687-02FBD0A8558B}" srcOrd="1" destOrd="0" presId="urn:microsoft.com/office/officeart/2005/8/layout/vList3#1"/>
    <dgm:cxn modelId="{C0AF7667-5BA5-4CE1-A2AC-249EB50994A0}" type="presParOf" srcId="{6FD8A916-CDD2-4354-85B0-7049F4D7FF48}" destId="{06B1FE00-DBD0-40D5-BC01-1F7E764A6D07}" srcOrd="2" destOrd="0" presId="urn:microsoft.com/office/officeart/2005/8/layout/vList3#1"/>
    <dgm:cxn modelId="{BCB6F6D6-D180-4544-9255-E70354CC4FB0}" type="presParOf" srcId="{06B1FE00-DBD0-40D5-BC01-1F7E764A6D07}" destId="{7C627734-46B9-4A8F-851A-CDE5EBE40C75}" srcOrd="0" destOrd="0" presId="urn:microsoft.com/office/officeart/2005/8/layout/vList3#1"/>
    <dgm:cxn modelId="{75BC943A-6E46-4B9E-B94A-82B74F9A5851}" type="presParOf" srcId="{06B1FE00-DBD0-40D5-BC01-1F7E764A6D07}" destId="{B19E0C40-FEB0-4B44-A5CB-9AF81FF60887}" srcOrd="1" destOrd="0" presId="urn:microsoft.com/office/officeart/2005/8/layout/vList3#1"/>
    <dgm:cxn modelId="{8E64BDC1-A085-4357-BAFB-6C4DA66A64D1}" type="presParOf" srcId="{6FD8A916-CDD2-4354-85B0-7049F4D7FF48}" destId="{C60DC9F1-FDE3-4491-8656-1935C8056523}" srcOrd="3" destOrd="0" presId="urn:microsoft.com/office/officeart/2005/8/layout/vList3#1"/>
    <dgm:cxn modelId="{6197072F-1DD4-4071-AD32-8A526CF16DDF}" type="presParOf" srcId="{6FD8A916-CDD2-4354-85B0-7049F4D7FF48}" destId="{3DEE163A-9421-479B-888D-4C9CAB9DCAE4}" srcOrd="4" destOrd="0" presId="urn:microsoft.com/office/officeart/2005/8/layout/vList3#1"/>
    <dgm:cxn modelId="{91A58E60-1640-4896-BF39-1C060E28508B}" type="presParOf" srcId="{3DEE163A-9421-479B-888D-4C9CAB9DCAE4}" destId="{6A42C53A-B5A3-47F2-9128-4AC7A12DD75F}" srcOrd="0" destOrd="0" presId="urn:microsoft.com/office/officeart/2005/8/layout/vList3#1"/>
    <dgm:cxn modelId="{940E0EBF-45BC-4D4E-AFEC-5FB1EB025409}" type="presParOf" srcId="{3DEE163A-9421-479B-888D-4C9CAB9DCAE4}" destId="{B5AFE25A-9815-4A73-8104-DD17231BCA53}" srcOrd="1" destOrd="0" presId="urn:microsoft.com/office/officeart/2005/8/layout/vList3#1"/>
    <dgm:cxn modelId="{603BC1DD-2F96-4849-88A9-657CA24CCD7F}" type="presParOf" srcId="{6FD8A916-CDD2-4354-85B0-7049F4D7FF48}" destId="{AA67C711-39EF-4400-A670-9A74B99708AE}" srcOrd="5" destOrd="0" presId="urn:microsoft.com/office/officeart/2005/8/layout/vList3#1"/>
    <dgm:cxn modelId="{6FFA2D10-7679-4BF2-8381-BA3D8B1FEB30}" type="presParOf" srcId="{6FD8A916-CDD2-4354-85B0-7049F4D7FF48}" destId="{01EF6A56-A765-46A2-851F-6B370979F18C}" srcOrd="6" destOrd="0" presId="urn:microsoft.com/office/officeart/2005/8/layout/vList3#1"/>
    <dgm:cxn modelId="{1C5B3796-E0FA-4B02-BF44-14613F38A598}" type="presParOf" srcId="{01EF6A56-A765-46A2-851F-6B370979F18C}" destId="{125D4FE7-8632-447C-8E9B-D8F72474FF2B}" srcOrd="0" destOrd="0" presId="urn:microsoft.com/office/officeart/2005/8/layout/vList3#1"/>
    <dgm:cxn modelId="{EDFCCFBC-5F58-464B-8D41-0C6152D3C861}" type="presParOf" srcId="{01EF6A56-A765-46A2-851F-6B370979F18C}" destId="{2FBE873E-6472-4844-B773-09E7312D71E0}" srcOrd="1" destOrd="0" presId="urn:microsoft.com/office/officeart/2005/8/layout/vList3#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F61044E-483C-4138-A585-891788FAD9CE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GB"/>
        </a:p>
      </dgm:t>
    </dgm:pt>
    <dgm:pt modelId="{43DA420F-BFCA-40FF-801F-76B81C9C8E9C}">
      <dgm:prSet phldrT="[Text]" custT="1"/>
      <dgm:spPr/>
      <dgm:t>
        <a:bodyPr/>
        <a:lstStyle/>
        <a:p>
          <a:r>
            <a:rPr lang="en-US" sz="2000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Limit </a:t>
          </a:r>
          <a:r>
            <a:rPr lang="en-US" sz="2000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Kredit</a:t>
          </a:r>
          <a:r>
            <a:rPr lang="en-US" sz="2000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US" sz="2000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ampai</a:t>
          </a:r>
          <a:r>
            <a:rPr lang="en-US" sz="2000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US" sz="2000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dengan</a:t>
          </a:r>
          <a:r>
            <a:rPr lang="en-US" sz="2000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US" sz="2000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Rp</a:t>
          </a:r>
          <a:r>
            <a:rPr lang="en-US" sz="2000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 350 </a:t>
          </a:r>
          <a:r>
            <a:rPr lang="en-US" sz="2000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Juta</a:t>
          </a:r>
          <a:endParaRPr lang="en-GB" sz="2000" b="1" dirty="0"/>
        </a:p>
      </dgm:t>
    </dgm:pt>
    <dgm:pt modelId="{A2E0C780-4128-4B1D-BCAB-B7D853CEE4A6}" type="parTrans" cxnId="{1713F9A7-3335-4DA7-8747-6D2E08F87A03}">
      <dgm:prSet/>
      <dgm:spPr/>
      <dgm:t>
        <a:bodyPr/>
        <a:lstStyle/>
        <a:p>
          <a:endParaRPr lang="en-GB" sz="2000"/>
        </a:p>
      </dgm:t>
    </dgm:pt>
    <dgm:pt modelId="{D53B26B0-1758-4201-B68E-5580E12C1CF4}" type="sibTrans" cxnId="{1713F9A7-3335-4DA7-8747-6D2E08F87A03}">
      <dgm:prSet/>
      <dgm:spPr/>
      <dgm:t>
        <a:bodyPr/>
        <a:lstStyle/>
        <a:p>
          <a:endParaRPr lang="en-GB" sz="2000"/>
        </a:p>
      </dgm:t>
    </dgm:pt>
    <dgm:pt modelId="{2BE9C5D5-7177-4313-9C8E-C7674FFA62F1}">
      <dgm:prSet phldrT="[Text]"/>
      <dgm:spPr/>
      <dgm:t>
        <a:bodyPr/>
        <a:lstStyle/>
        <a:p>
          <a:r>
            <a:rPr lang="en-US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Jangka</a:t>
          </a:r>
          <a:r>
            <a:rPr lang="en-US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US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Waktu</a:t>
          </a:r>
          <a:r>
            <a:rPr lang="en-US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US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ampai</a:t>
          </a:r>
          <a:r>
            <a:rPr lang="en-US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US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15 </a:t>
          </a:r>
          <a:r>
            <a:rPr lang="en-US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Tahun</a:t>
          </a:r>
          <a:r>
            <a:rPr lang="en-US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/ </a:t>
          </a:r>
          <a:r>
            <a:rPr lang="en-US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tmt</a:t>
          </a:r>
          <a:r>
            <a:rPr lang="en-US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US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Pensiun</a:t>
          </a:r>
          <a:endParaRPr lang="en-GB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A85A449D-DD03-411B-AB62-2DC4A2FEFDF3}" type="parTrans" cxnId="{D4D7F46F-C498-40E7-AADD-B9B0AD9C7FFF}">
      <dgm:prSet/>
      <dgm:spPr/>
      <dgm:t>
        <a:bodyPr/>
        <a:lstStyle/>
        <a:p>
          <a:endParaRPr lang="en-AU"/>
        </a:p>
      </dgm:t>
    </dgm:pt>
    <dgm:pt modelId="{C902DA6D-3E07-48D6-947F-9A2FBE8D5F69}" type="sibTrans" cxnId="{D4D7F46F-C498-40E7-AADD-B9B0AD9C7FFF}">
      <dgm:prSet/>
      <dgm:spPr/>
      <dgm:t>
        <a:bodyPr/>
        <a:lstStyle/>
        <a:p>
          <a:endParaRPr lang="en-AU"/>
        </a:p>
      </dgm:t>
    </dgm:pt>
    <dgm:pt modelId="{B07C8CE8-FC55-4DFD-93F8-EA728AEA8792}">
      <dgm:prSet phldrT="[Text]"/>
      <dgm:spPr/>
      <dgm:t>
        <a:bodyPr/>
        <a:lstStyle/>
        <a:p>
          <a:r>
            <a:rPr lang="en-GB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PKS / MOU </a:t>
          </a:r>
          <a:r>
            <a:rPr lang="en-GB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dengan</a:t>
          </a:r>
          <a:r>
            <a:rPr lang="en-GB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GB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Instansi</a:t>
          </a:r>
          <a:endParaRPr lang="en-GB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D81E374A-2F6F-4F31-9640-47904EB64E40}" type="parTrans" cxnId="{AB4E2A84-6413-4175-AE44-FC91C18B6C0B}">
      <dgm:prSet/>
      <dgm:spPr/>
      <dgm:t>
        <a:bodyPr/>
        <a:lstStyle/>
        <a:p>
          <a:endParaRPr lang="en-AU"/>
        </a:p>
      </dgm:t>
    </dgm:pt>
    <dgm:pt modelId="{61ADC91B-5DBE-432C-87C5-33F7D44A5936}" type="sibTrans" cxnId="{AB4E2A84-6413-4175-AE44-FC91C18B6C0B}">
      <dgm:prSet/>
      <dgm:spPr/>
      <dgm:t>
        <a:bodyPr/>
        <a:lstStyle/>
        <a:p>
          <a:endParaRPr lang="en-AU"/>
        </a:p>
      </dgm:t>
    </dgm:pt>
    <dgm:pt modelId="{C6ABABC9-D5BA-4709-BEE8-23A6F735DACF}">
      <dgm:prSet phldrT="[Text]"/>
      <dgm:spPr/>
      <dgm:t>
        <a:bodyPr/>
        <a:lstStyle/>
        <a:p>
          <a:r>
            <a:rPr lang="en-GB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Rate </a:t>
          </a:r>
          <a:r>
            <a:rPr lang="en-GB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Bisa</a:t>
          </a:r>
          <a:r>
            <a:rPr lang="en-GB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GB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dinegosiasi</a:t>
          </a:r>
          <a:r>
            <a:rPr lang="en-GB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GB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esuai</a:t>
          </a:r>
          <a:r>
            <a:rPr lang="en-GB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GB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MOU </a:t>
          </a:r>
          <a:endParaRPr lang="en-GB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4290930-5E6B-4A55-9FAC-85EC6C4A16E4}" type="parTrans" cxnId="{72F7A03A-D73B-46EF-B2C6-6E03DB23D224}">
      <dgm:prSet/>
      <dgm:spPr/>
      <dgm:t>
        <a:bodyPr/>
        <a:lstStyle/>
        <a:p>
          <a:endParaRPr lang="en-US"/>
        </a:p>
      </dgm:t>
    </dgm:pt>
    <dgm:pt modelId="{B2EF6A10-383F-4BED-9F32-9EEE6B764C30}" type="sibTrans" cxnId="{72F7A03A-D73B-46EF-B2C6-6E03DB23D224}">
      <dgm:prSet/>
      <dgm:spPr/>
      <dgm:t>
        <a:bodyPr/>
        <a:lstStyle/>
        <a:p>
          <a:endParaRPr lang="en-US"/>
        </a:p>
      </dgm:t>
    </dgm:pt>
    <dgm:pt modelId="{E29FC60F-844E-4D74-B0E2-590D65CA23E0}">
      <dgm:prSet phldrT="[Text]"/>
      <dgm:spPr/>
      <dgm:t>
        <a:bodyPr/>
        <a:lstStyle/>
        <a:p>
          <a:r>
            <a:rPr lang="en-GB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KSM Hybrid 5 </a:t>
          </a:r>
          <a:r>
            <a:rPr lang="en-GB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th</a:t>
          </a:r>
          <a:r>
            <a:rPr lang="en-GB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GB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menjelang</a:t>
          </a:r>
          <a:r>
            <a:rPr lang="en-GB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GB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Pensiun</a:t>
          </a:r>
          <a:endParaRPr lang="en-GB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6FCC53C4-819F-41F6-8F07-3A68675D82FC}" type="parTrans" cxnId="{E633466E-4EFA-4E1B-BB89-04D587C1C69F}">
      <dgm:prSet/>
      <dgm:spPr/>
      <dgm:t>
        <a:bodyPr/>
        <a:lstStyle/>
        <a:p>
          <a:endParaRPr lang="en-US"/>
        </a:p>
      </dgm:t>
    </dgm:pt>
    <dgm:pt modelId="{DAAEC9D7-1381-474E-8C0B-9BACACC2913F}" type="sibTrans" cxnId="{E633466E-4EFA-4E1B-BB89-04D587C1C69F}">
      <dgm:prSet/>
      <dgm:spPr/>
      <dgm:t>
        <a:bodyPr/>
        <a:lstStyle/>
        <a:p>
          <a:endParaRPr lang="en-US"/>
        </a:p>
      </dgm:t>
    </dgm:pt>
    <dgm:pt modelId="{7735C7DA-7C01-4ACE-A66A-280AC1C62CC7}" type="pres">
      <dgm:prSet presAssocID="{CF61044E-483C-4138-A585-891788FAD9CE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AU"/>
        </a:p>
      </dgm:t>
    </dgm:pt>
    <dgm:pt modelId="{363A6066-5282-4761-B25A-B75CF5EC1D07}" type="pres">
      <dgm:prSet presAssocID="{CF61044E-483C-4138-A585-891788FAD9CE}" presName="Name1" presStyleCnt="0"/>
      <dgm:spPr/>
    </dgm:pt>
    <dgm:pt modelId="{D5C9D620-8C62-453C-9E57-ACD3588849F7}" type="pres">
      <dgm:prSet presAssocID="{CF61044E-483C-4138-A585-891788FAD9CE}" presName="cycle" presStyleCnt="0"/>
      <dgm:spPr/>
    </dgm:pt>
    <dgm:pt modelId="{5188DD5A-47DB-48E6-AF0A-0228D1ADE110}" type="pres">
      <dgm:prSet presAssocID="{CF61044E-483C-4138-A585-891788FAD9CE}" presName="srcNode" presStyleLbl="node1" presStyleIdx="0" presStyleCnt="5"/>
      <dgm:spPr/>
    </dgm:pt>
    <dgm:pt modelId="{50AD6BFD-98B4-495F-AE1E-B89581EE6631}" type="pres">
      <dgm:prSet presAssocID="{CF61044E-483C-4138-A585-891788FAD9CE}" presName="conn" presStyleLbl="parChTrans1D2" presStyleIdx="0" presStyleCnt="1"/>
      <dgm:spPr/>
      <dgm:t>
        <a:bodyPr/>
        <a:lstStyle/>
        <a:p>
          <a:endParaRPr lang="en-AU"/>
        </a:p>
      </dgm:t>
    </dgm:pt>
    <dgm:pt modelId="{B540BFD1-40FF-4157-8018-639C0A41ABFA}" type="pres">
      <dgm:prSet presAssocID="{CF61044E-483C-4138-A585-891788FAD9CE}" presName="extraNode" presStyleLbl="node1" presStyleIdx="0" presStyleCnt="5"/>
      <dgm:spPr/>
    </dgm:pt>
    <dgm:pt modelId="{C412EDD0-0150-4F5C-8745-6A11661A2572}" type="pres">
      <dgm:prSet presAssocID="{CF61044E-483C-4138-A585-891788FAD9CE}" presName="dstNode" presStyleLbl="node1" presStyleIdx="0" presStyleCnt="5"/>
      <dgm:spPr/>
    </dgm:pt>
    <dgm:pt modelId="{221DABB5-442F-4910-ABF0-4D3F2F02F672}" type="pres">
      <dgm:prSet presAssocID="{43DA420F-BFCA-40FF-801F-76B81C9C8E9C}" presName="text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2B8E1CC-AA23-481C-A6B7-BB6937F7723D}" type="pres">
      <dgm:prSet presAssocID="{43DA420F-BFCA-40FF-801F-76B81C9C8E9C}" presName="accent_1" presStyleCnt="0"/>
      <dgm:spPr/>
    </dgm:pt>
    <dgm:pt modelId="{867B2197-EFD7-4530-92BB-8169CECB272B}" type="pres">
      <dgm:prSet presAssocID="{43DA420F-BFCA-40FF-801F-76B81C9C8E9C}" presName="accentRepeatNode" presStyleLbl="solidFgAcc1" presStyleIdx="0" presStyleCnt="5"/>
      <dgm:spPr/>
    </dgm:pt>
    <dgm:pt modelId="{8763031B-F64D-4AC2-A7BC-3FF5B512C826}" type="pres">
      <dgm:prSet presAssocID="{2BE9C5D5-7177-4313-9C8E-C7674FFA62F1}" presName="text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73FE5B74-12A7-4779-A1C8-B70F98C9159B}" type="pres">
      <dgm:prSet presAssocID="{2BE9C5D5-7177-4313-9C8E-C7674FFA62F1}" presName="accent_2" presStyleCnt="0"/>
      <dgm:spPr/>
    </dgm:pt>
    <dgm:pt modelId="{F5285C75-41B2-4F97-B114-C790D81A94CA}" type="pres">
      <dgm:prSet presAssocID="{2BE9C5D5-7177-4313-9C8E-C7674FFA62F1}" presName="accentRepeatNode" presStyleLbl="solidFgAcc1" presStyleIdx="1" presStyleCnt="5"/>
      <dgm:spPr/>
    </dgm:pt>
    <dgm:pt modelId="{7DC4D60D-A190-4FB0-AA51-A95671F41735}" type="pres">
      <dgm:prSet presAssocID="{B07C8CE8-FC55-4DFD-93F8-EA728AEA8792}" presName="text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5F01CA84-D52C-484A-97FE-095517A540D1}" type="pres">
      <dgm:prSet presAssocID="{B07C8CE8-FC55-4DFD-93F8-EA728AEA8792}" presName="accent_3" presStyleCnt="0"/>
      <dgm:spPr/>
    </dgm:pt>
    <dgm:pt modelId="{8E144750-5CFA-496E-B659-A0AED2E21612}" type="pres">
      <dgm:prSet presAssocID="{B07C8CE8-FC55-4DFD-93F8-EA728AEA8792}" presName="accentRepeatNode" presStyleLbl="solidFgAcc1" presStyleIdx="2" presStyleCnt="5"/>
      <dgm:spPr/>
    </dgm:pt>
    <dgm:pt modelId="{99F1FA9A-D348-4FFE-9022-5C65CCF6E4AD}" type="pres">
      <dgm:prSet presAssocID="{C6ABABC9-D5BA-4709-BEE8-23A6F735DACF}" presName="text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EF98D282-2CB4-4AED-90A9-0B8490746382}" type="pres">
      <dgm:prSet presAssocID="{C6ABABC9-D5BA-4709-BEE8-23A6F735DACF}" presName="accent_4" presStyleCnt="0"/>
      <dgm:spPr/>
    </dgm:pt>
    <dgm:pt modelId="{F9FF95A6-E818-455D-A2D8-0C4BABBD5C6F}" type="pres">
      <dgm:prSet presAssocID="{C6ABABC9-D5BA-4709-BEE8-23A6F735DACF}" presName="accentRepeatNode" presStyleLbl="solidFgAcc1" presStyleIdx="3" presStyleCnt="5"/>
      <dgm:spPr/>
    </dgm:pt>
    <dgm:pt modelId="{8B15CCF7-72E8-44C8-B213-2A8309E273DF}" type="pres">
      <dgm:prSet presAssocID="{E29FC60F-844E-4D74-B0E2-590D65CA23E0}" presName="text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14078BEC-9C5B-4FE7-AF90-F47BFD6A23E1}" type="pres">
      <dgm:prSet presAssocID="{E29FC60F-844E-4D74-B0E2-590D65CA23E0}" presName="accent_5" presStyleCnt="0"/>
      <dgm:spPr/>
    </dgm:pt>
    <dgm:pt modelId="{D2E7C1C0-489D-45CF-82F9-49526C9128DE}" type="pres">
      <dgm:prSet presAssocID="{E29FC60F-844E-4D74-B0E2-590D65CA23E0}" presName="accentRepeatNode" presStyleLbl="solidFgAcc1" presStyleIdx="4" presStyleCnt="5"/>
      <dgm:spPr/>
    </dgm:pt>
  </dgm:ptLst>
  <dgm:cxnLst>
    <dgm:cxn modelId="{227EDE36-A5E1-4E5E-B9E9-E2B33235FB2B}" type="presOf" srcId="{2BE9C5D5-7177-4313-9C8E-C7674FFA62F1}" destId="{8763031B-F64D-4AC2-A7BC-3FF5B512C826}" srcOrd="0" destOrd="0" presId="urn:microsoft.com/office/officeart/2008/layout/VerticalCurvedList"/>
    <dgm:cxn modelId="{1713F9A7-3335-4DA7-8747-6D2E08F87A03}" srcId="{CF61044E-483C-4138-A585-891788FAD9CE}" destId="{43DA420F-BFCA-40FF-801F-76B81C9C8E9C}" srcOrd="0" destOrd="0" parTransId="{A2E0C780-4128-4B1D-BCAB-B7D853CEE4A6}" sibTransId="{D53B26B0-1758-4201-B68E-5580E12C1CF4}"/>
    <dgm:cxn modelId="{ED6C660F-505B-4F02-BDA8-01504248B9F0}" type="presOf" srcId="{D53B26B0-1758-4201-B68E-5580E12C1CF4}" destId="{50AD6BFD-98B4-495F-AE1E-B89581EE6631}" srcOrd="0" destOrd="0" presId="urn:microsoft.com/office/officeart/2008/layout/VerticalCurvedList"/>
    <dgm:cxn modelId="{7BE219EF-73B6-4050-B078-84AF69FCEE6F}" type="presOf" srcId="{43DA420F-BFCA-40FF-801F-76B81C9C8E9C}" destId="{221DABB5-442F-4910-ABF0-4D3F2F02F672}" srcOrd="0" destOrd="0" presId="urn:microsoft.com/office/officeart/2008/layout/VerticalCurvedList"/>
    <dgm:cxn modelId="{459A8AD3-BCD1-49BA-A1AE-CF1BE53F722F}" type="presOf" srcId="{CF61044E-483C-4138-A585-891788FAD9CE}" destId="{7735C7DA-7C01-4ACE-A66A-280AC1C62CC7}" srcOrd="0" destOrd="0" presId="urn:microsoft.com/office/officeart/2008/layout/VerticalCurvedList"/>
    <dgm:cxn modelId="{D4D7F46F-C498-40E7-AADD-B9B0AD9C7FFF}" srcId="{CF61044E-483C-4138-A585-891788FAD9CE}" destId="{2BE9C5D5-7177-4313-9C8E-C7674FFA62F1}" srcOrd="1" destOrd="0" parTransId="{A85A449D-DD03-411B-AB62-2DC4A2FEFDF3}" sibTransId="{C902DA6D-3E07-48D6-947F-9A2FBE8D5F69}"/>
    <dgm:cxn modelId="{15830E84-8958-4BDE-8A81-DC15E98D0F23}" type="presOf" srcId="{B07C8CE8-FC55-4DFD-93F8-EA728AEA8792}" destId="{7DC4D60D-A190-4FB0-AA51-A95671F41735}" srcOrd="0" destOrd="0" presId="urn:microsoft.com/office/officeart/2008/layout/VerticalCurvedList"/>
    <dgm:cxn modelId="{72F7A03A-D73B-46EF-B2C6-6E03DB23D224}" srcId="{CF61044E-483C-4138-A585-891788FAD9CE}" destId="{C6ABABC9-D5BA-4709-BEE8-23A6F735DACF}" srcOrd="3" destOrd="0" parTransId="{E4290930-5E6B-4A55-9FAC-85EC6C4A16E4}" sibTransId="{B2EF6A10-383F-4BED-9F32-9EEE6B764C30}"/>
    <dgm:cxn modelId="{AB4E2A84-6413-4175-AE44-FC91C18B6C0B}" srcId="{CF61044E-483C-4138-A585-891788FAD9CE}" destId="{B07C8CE8-FC55-4DFD-93F8-EA728AEA8792}" srcOrd="2" destOrd="0" parTransId="{D81E374A-2F6F-4F31-9640-47904EB64E40}" sibTransId="{61ADC91B-5DBE-432C-87C5-33F7D44A5936}"/>
    <dgm:cxn modelId="{6DD6A769-C99A-4D22-BBE5-EE4FC0C9EB05}" type="presOf" srcId="{E29FC60F-844E-4D74-B0E2-590D65CA23E0}" destId="{8B15CCF7-72E8-44C8-B213-2A8309E273DF}" srcOrd="0" destOrd="0" presId="urn:microsoft.com/office/officeart/2008/layout/VerticalCurvedList"/>
    <dgm:cxn modelId="{7814CDAD-11F1-43DC-8C29-CCC79E4FDA87}" type="presOf" srcId="{C6ABABC9-D5BA-4709-BEE8-23A6F735DACF}" destId="{99F1FA9A-D348-4FFE-9022-5C65CCF6E4AD}" srcOrd="0" destOrd="0" presId="urn:microsoft.com/office/officeart/2008/layout/VerticalCurvedList"/>
    <dgm:cxn modelId="{E633466E-4EFA-4E1B-BB89-04D587C1C69F}" srcId="{CF61044E-483C-4138-A585-891788FAD9CE}" destId="{E29FC60F-844E-4D74-B0E2-590D65CA23E0}" srcOrd="4" destOrd="0" parTransId="{6FCC53C4-819F-41F6-8F07-3A68675D82FC}" sibTransId="{DAAEC9D7-1381-474E-8C0B-9BACACC2913F}"/>
    <dgm:cxn modelId="{4C377EE3-89FD-4833-867C-EBD315459A25}" type="presParOf" srcId="{7735C7DA-7C01-4ACE-A66A-280AC1C62CC7}" destId="{363A6066-5282-4761-B25A-B75CF5EC1D07}" srcOrd="0" destOrd="0" presId="urn:microsoft.com/office/officeart/2008/layout/VerticalCurvedList"/>
    <dgm:cxn modelId="{34F120A3-9A8F-4EAE-9BDF-AF600992AC56}" type="presParOf" srcId="{363A6066-5282-4761-B25A-B75CF5EC1D07}" destId="{D5C9D620-8C62-453C-9E57-ACD3588849F7}" srcOrd="0" destOrd="0" presId="urn:microsoft.com/office/officeart/2008/layout/VerticalCurvedList"/>
    <dgm:cxn modelId="{4238101F-46D7-4F98-AADA-1EC2A27CFEA5}" type="presParOf" srcId="{D5C9D620-8C62-453C-9E57-ACD3588849F7}" destId="{5188DD5A-47DB-48E6-AF0A-0228D1ADE110}" srcOrd="0" destOrd="0" presId="urn:microsoft.com/office/officeart/2008/layout/VerticalCurvedList"/>
    <dgm:cxn modelId="{0211B1A6-5A79-458F-B3B4-5B90118A07EC}" type="presParOf" srcId="{D5C9D620-8C62-453C-9E57-ACD3588849F7}" destId="{50AD6BFD-98B4-495F-AE1E-B89581EE6631}" srcOrd="1" destOrd="0" presId="urn:microsoft.com/office/officeart/2008/layout/VerticalCurvedList"/>
    <dgm:cxn modelId="{262A3176-6AB9-416E-A377-3807EE48AC61}" type="presParOf" srcId="{D5C9D620-8C62-453C-9E57-ACD3588849F7}" destId="{B540BFD1-40FF-4157-8018-639C0A41ABFA}" srcOrd="2" destOrd="0" presId="urn:microsoft.com/office/officeart/2008/layout/VerticalCurvedList"/>
    <dgm:cxn modelId="{7FE7D32A-6FD9-4C04-8383-F722618FC6A3}" type="presParOf" srcId="{D5C9D620-8C62-453C-9E57-ACD3588849F7}" destId="{C412EDD0-0150-4F5C-8745-6A11661A2572}" srcOrd="3" destOrd="0" presId="urn:microsoft.com/office/officeart/2008/layout/VerticalCurvedList"/>
    <dgm:cxn modelId="{89B44E98-DC32-42D4-93C4-D6F65A8C2EED}" type="presParOf" srcId="{363A6066-5282-4761-B25A-B75CF5EC1D07}" destId="{221DABB5-442F-4910-ABF0-4D3F2F02F672}" srcOrd="1" destOrd="0" presId="urn:microsoft.com/office/officeart/2008/layout/VerticalCurvedList"/>
    <dgm:cxn modelId="{6CC74618-44B1-4300-B850-C464F3631D0D}" type="presParOf" srcId="{363A6066-5282-4761-B25A-B75CF5EC1D07}" destId="{92B8E1CC-AA23-481C-A6B7-BB6937F7723D}" srcOrd="2" destOrd="0" presId="urn:microsoft.com/office/officeart/2008/layout/VerticalCurvedList"/>
    <dgm:cxn modelId="{5044E2E2-A1B7-4CF9-B958-0AED2D466DBF}" type="presParOf" srcId="{92B8E1CC-AA23-481C-A6B7-BB6937F7723D}" destId="{867B2197-EFD7-4530-92BB-8169CECB272B}" srcOrd="0" destOrd="0" presId="urn:microsoft.com/office/officeart/2008/layout/VerticalCurvedList"/>
    <dgm:cxn modelId="{BEF1A946-2A55-44F0-AA1B-E513EDE31677}" type="presParOf" srcId="{363A6066-5282-4761-B25A-B75CF5EC1D07}" destId="{8763031B-F64D-4AC2-A7BC-3FF5B512C826}" srcOrd="3" destOrd="0" presId="urn:microsoft.com/office/officeart/2008/layout/VerticalCurvedList"/>
    <dgm:cxn modelId="{619B0865-4A1D-44B6-85AC-3100344A0A1B}" type="presParOf" srcId="{363A6066-5282-4761-B25A-B75CF5EC1D07}" destId="{73FE5B74-12A7-4779-A1C8-B70F98C9159B}" srcOrd="4" destOrd="0" presId="urn:microsoft.com/office/officeart/2008/layout/VerticalCurvedList"/>
    <dgm:cxn modelId="{630FEE3B-65F8-4E3E-8677-D2145BD90EC1}" type="presParOf" srcId="{73FE5B74-12A7-4779-A1C8-B70F98C9159B}" destId="{F5285C75-41B2-4F97-B114-C790D81A94CA}" srcOrd="0" destOrd="0" presId="urn:microsoft.com/office/officeart/2008/layout/VerticalCurvedList"/>
    <dgm:cxn modelId="{1BDA349A-8B26-440E-BCF6-C0A5BD1B9A3E}" type="presParOf" srcId="{363A6066-5282-4761-B25A-B75CF5EC1D07}" destId="{7DC4D60D-A190-4FB0-AA51-A95671F41735}" srcOrd="5" destOrd="0" presId="urn:microsoft.com/office/officeart/2008/layout/VerticalCurvedList"/>
    <dgm:cxn modelId="{16F17861-1302-4790-A495-5D1DD7F2A9B9}" type="presParOf" srcId="{363A6066-5282-4761-B25A-B75CF5EC1D07}" destId="{5F01CA84-D52C-484A-97FE-095517A540D1}" srcOrd="6" destOrd="0" presId="urn:microsoft.com/office/officeart/2008/layout/VerticalCurvedList"/>
    <dgm:cxn modelId="{12596CF8-76EC-4073-A2C8-08260172BFAD}" type="presParOf" srcId="{5F01CA84-D52C-484A-97FE-095517A540D1}" destId="{8E144750-5CFA-496E-B659-A0AED2E21612}" srcOrd="0" destOrd="0" presId="urn:microsoft.com/office/officeart/2008/layout/VerticalCurvedList"/>
    <dgm:cxn modelId="{FD3EE96A-FADD-4E74-9015-ECE79BD93648}" type="presParOf" srcId="{363A6066-5282-4761-B25A-B75CF5EC1D07}" destId="{99F1FA9A-D348-4FFE-9022-5C65CCF6E4AD}" srcOrd="7" destOrd="0" presId="urn:microsoft.com/office/officeart/2008/layout/VerticalCurvedList"/>
    <dgm:cxn modelId="{4C7BB5FE-E357-45CB-9002-F18159156911}" type="presParOf" srcId="{363A6066-5282-4761-B25A-B75CF5EC1D07}" destId="{EF98D282-2CB4-4AED-90A9-0B8490746382}" srcOrd="8" destOrd="0" presId="urn:microsoft.com/office/officeart/2008/layout/VerticalCurvedList"/>
    <dgm:cxn modelId="{4A52BA93-1038-40D4-AEDD-6D108FBE379A}" type="presParOf" srcId="{EF98D282-2CB4-4AED-90A9-0B8490746382}" destId="{F9FF95A6-E818-455D-A2D8-0C4BABBD5C6F}" srcOrd="0" destOrd="0" presId="urn:microsoft.com/office/officeart/2008/layout/VerticalCurvedList"/>
    <dgm:cxn modelId="{B76216BA-E1CC-4F7E-AC90-F8CABA5E1C8C}" type="presParOf" srcId="{363A6066-5282-4761-B25A-B75CF5EC1D07}" destId="{8B15CCF7-72E8-44C8-B213-2A8309E273DF}" srcOrd="9" destOrd="0" presId="urn:microsoft.com/office/officeart/2008/layout/VerticalCurvedList"/>
    <dgm:cxn modelId="{F77CA0F7-F40E-4D27-9A46-8C685DEDA424}" type="presParOf" srcId="{363A6066-5282-4761-B25A-B75CF5EC1D07}" destId="{14078BEC-9C5B-4FE7-AF90-F47BFD6A23E1}" srcOrd="10" destOrd="0" presId="urn:microsoft.com/office/officeart/2008/layout/VerticalCurvedList"/>
    <dgm:cxn modelId="{6F6684FA-6DC2-4CED-AD43-4F967C80052B}" type="presParOf" srcId="{14078BEC-9C5B-4FE7-AF90-F47BFD6A23E1}" destId="{D2E7C1C0-489D-45CF-82F9-49526C9128DE}" srcOrd="0" destOrd="0" presId="urn:microsoft.com/office/officeart/2008/layout/VerticalCurvedList"/>
  </dgm:cxnLst>
  <dgm:bg/>
  <dgm:whole/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F61044E-483C-4138-A585-891788FAD9CE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GB"/>
        </a:p>
      </dgm:t>
    </dgm:pt>
    <dgm:pt modelId="{43DA420F-BFCA-40FF-801F-76B81C9C8E9C}">
      <dgm:prSet phldrT="[Text]" custT="1"/>
      <dgm:spPr/>
      <dgm:t>
        <a:bodyPr/>
        <a:lstStyle/>
        <a:p>
          <a:r>
            <a:rPr lang="en-US" sz="2000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Limit </a:t>
          </a:r>
          <a:r>
            <a:rPr lang="en-US" sz="2000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Kredit</a:t>
          </a:r>
          <a:r>
            <a:rPr lang="en-US" sz="2000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US" sz="2000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ampai</a:t>
          </a:r>
          <a:r>
            <a:rPr lang="en-US" sz="2000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US" sz="2000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dengan</a:t>
          </a:r>
          <a:r>
            <a:rPr lang="en-US" sz="2000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US" sz="2000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Rp</a:t>
          </a:r>
          <a:r>
            <a:rPr lang="en-US" sz="2000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 350 </a:t>
          </a:r>
          <a:r>
            <a:rPr lang="en-US" sz="2000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Juta</a:t>
          </a:r>
          <a:endParaRPr lang="en-GB" sz="2000" b="1" dirty="0"/>
        </a:p>
      </dgm:t>
    </dgm:pt>
    <dgm:pt modelId="{A2E0C780-4128-4B1D-BCAB-B7D853CEE4A6}" type="parTrans" cxnId="{1713F9A7-3335-4DA7-8747-6D2E08F87A03}">
      <dgm:prSet/>
      <dgm:spPr/>
      <dgm:t>
        <a:bodyPr/>
        <a:lstStyle/>
        <a:p>
          <a:endParaRPr lang="en-GB" sz="2000"/>
        </a:p>
      </dgm:t>
    </dgm:pt>
    <dgm:pt modelId="{D53B26B0-1758-4201-B68E-5580E12C1CF4}" type="sibTrans" cxnId="{1713F9A7-3335-4DA7-8747-6D2E08F87A03}">
      <dgm:prSet/>
      <dgm:spPr/>
      <dgm:t>
        <a:bodyPr/>
        <a:lstStyle/>
        <a:p>
          <a:endParaRPr lang="en-GB" sz="2000"/>
        </a:p>
      </dgm:t>
    </dgm:pt>
    <dgm:pt modelId="{A7AE8DD9-BCAC-4A63-977B-D783A4DC0DB5}">
      <dgm:prSet phldrT="[Text]"/>
      <dgm:spPr/>
      <dgm:t>
        <a:bodyPr/>
        <a:lstStyle/>
        <a:p>
          <a:r>
            <a:rPr lang="en-US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Jangka</a:t>
          </a:r>
          <a:r>
            <a:rPr lang="en-US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US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Waktu</a:t>
          </a:r>
          <a:r>
            <a:rPr lang="en-US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US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ampai</a:t>
          </a:r>
          <a:r>
            <a:rPr lang="en-US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US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15 </a:t>
          </a:r>
          <a:r>
            <a:rPr lang="en-US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Tahun</a:t>
          </a:r>
          <a:r>
            <a:rPr lang="en-US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endParaRPr lang="en-GB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6A61836F-F8A0-4C0F-99C1-C71B31B46165}" type="parTrans" cxnId="{2079F823-B345-4755-B880-7600637AD3AA}">
      <dgm:prSet/>
      <dgm:spPr/>
      <dgm:t>
        <a:bodyPr/>
        <a:lstStyle/>
        <a:p>
          <a:endParaRPr lang="en-AU"/>
        </a:p>
      </dgm:t>
    </dgm:pt>
    <dgm:pt modelId="{6813DB18-0C42-4DD2-9E7F-268054734F63}" type="sibTrans" cxnId="{2079F823-B345-4755-B880-7600637AD3AA}">
      <dgm:prSet/>
      <dgm:spPr/>
      <dgm:t>
        <a:bodyPr/>
        <a:lstStyle/>
        <a:p>
          <a:endParaRPr lang="en-AU"/>
        </a:p>
      </dgm:t>
    </dgm:pt>
    <dgm:pt modelId="{C0929D4D-96E7-4F00-B600-12DB9DB5911D}">
      <dgm:prSet phldrT="[Text]"/>
      <dgm:spPr/>
      <dgm:t>
        <a:bodyPr/>
        <a:lstStyle/>
        <a:p>
          <a:r>
            <a:rPr lang="en-US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Rate </a:t>
          </a:r>
          <a:r>
            <a:rPr lang="en-US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bersaing</a:t>
          </a:r>
          <a:endParaRPr lang="en-GB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FF857C48-485C-4015-A78A-84B448E24A31}" type="parTrans" cxnId="{4074ADBD-7147-4883-B001-254C36349FF6}">
      <dgm:prSet/>
      <dgm:spPr/>
      <dgm:t>
        <a:bodyPr/>
        <a:lstStyle/>
        <a:p>
          <a:endParaRPr lang="en-AU"/>
        </a:p>
      </dgm:t>
    </dgm:pt>
    <dgm:pt modelId="{B07A2C6E-D647-42B8-93E0-02ED506DFD08}" type="sibTrans" cxnId="{4074ADBD-7147-4883-B001-254C36349FF6}">
      <dgm:prSet/>
      <dgm:spPr/>
      <dgm:t>
        <a:bodyPr/>
        <a:lstStyle/>
        <a:p>
          <a:endParaRPr lang="en-AU"/>
        </a:p>
      </dgm:t>
    </dgm:pt>
    <dgm:pt modelId="{5363A4A9-8AC6-41B0-9942-83EA8D0612E5}">
      <dgm:prSet phldrT="[Text]"/>
      <dgm:spPr/>
      <dgm:t>
        <a:bodyPr/>
        <a:lstStyle/>
        <a:p>
          <a:r>
            <a:rPr lang="en-GB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Fasilitas</a:t>
          </a:r>
          <a:r>
            <a:rPr lang="en-GB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 2 </a:t>
          </a:r>
          <a:r>
            <a:rPr lang="en-GB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th</a:t>
          </a:r>
          <a:r>
            <a:rPr lang="en-GB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GB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menjelang</a:t>
          </a:r>
          <a:r>
            <a:rPr lang="en-GB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 </a:t>
          </a:r>
          <a:r>
            <a:rPr lang="en-GB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pensiun</a:t>
          </a:r>
          <a:endParaRPr lang="en-GB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8DD39041-9950-49F5-9D13-A15F8589D946}" type="parTrans" cxnId="{C7A5F5B8-6021-47CF-8C90-65FD77F4BC1D}">
      <dgm:prSet/>
      <dgm:spPr/>
      <dgm:t>
        <a:bodyPr/>
        <a:lstStyle/>
        <a:p>
          <a:endParaRPr lang="en-AU"/>
        </a:p>
      </dgm:t>
    </dgm:pt>
    <dgm:pt modelId="{2B4D6341-CF40-4C1D-9062-B359D5346CA1}" type="sibTrans" cxnId="{C7A5F5B8-6021-47CF-8C90-65FD77F4BC1D}">
      <dgm:prSet/>
      <dgm:spPr/>
      <dgm:t>
        <a:bodyPr/>
        <a:lstStyle/>
        <a:p>
          <a:endParaRPr lang="en-AU"/>
        </a:p>
      </dgm:t>
    </dgm:pt>
    <dgm:pt modelId="{7735C7DA-7C01-4ACE-A66A-280AC1C62CC7}" type="pres">
      <dgm:prSet presAssocID="{CF61044E-483C-4138-A585-891788FAD9CE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AU"/>
        </a:p>
      </dgm:t>
    </dgm:pt>
    <dgm:pt modelId="{363A6066-5282-4761-B25A-B75CF5EC1D07}" type="pres">
      <dgm:prSet presAssocID="{CF61044E-483C-4138-A585-891788FAD9CE}" presName="Name1" presStyleCnt="0"/>
      <dgm:spPr/>
    </dgm:pt>
    <dgm:pt modelId="{D5C9D620-8C62-453C-9E57-ACD3588849F7}" type="pres">
      <dgm:prSet presAssocID="{CF61044E-483C-4138-A585-891788FAD9CE}" presName="cycle" presStyleCnt="0"/>
      <dgm:spPr/>
    </dgm:pt>
    <dgm:pt modelId="{5188DD5A-47DB-48E6-AF0A-0228D1ADE110}" type="pres">
      <dgm:prSet presAssocID="{CF61044E-483C-4138-A585-891788FAD9CE}" presName="srcNode" presStyleLbl="node1" presStyleIdx="0" presStyleCnt="4"/>
      <dgm:spPr/>
    </dgm:pt>
    <dgm:pt modelId="{50AD6BFD-98B4-495F-AE1E-B89581EE6631}" type="pres">
      <dgm:prSet presAssocID="{CF61044E-483C-4138-A585-891788FAD9CE}" presName="conn" presStyleLbl="parChTrans1D2" presStyleIdx="0" presStyleCnt="1"/>
      <dgm:spPr/>
      <dgm:t>
        <a:bodyPr/>
        <a:lstStyle/>
        <a:p>
          <a:endParaRPr lang="en-AU"/>
        </a:p>
      </dgm:t>
    </dgm:pt>
    <dgm:pt modelId="{B540BFD1-40FF-4157-8018-639C0A41ABFA}" type="pres">
      <dgm:prSet presAssocID="{CF61044E-483C-4138-A585-891788FAD9CE}" presName="extraNode" presStyleLbl="node1" presStyleIdx="0" presStyleCnt="4"/>
      <dgm:spPr/>
    </dgm:pt>
    <dgm:pt modelId="{C412EDD0-0150-4F5C-8745-6A11661A2572}" type="pres">
      <dgm:prSet presAssocID="{CF61044E-483C-4138-A585-891788FAD9CE}" presName="dstNode" presStyleLbl="node1" presStyleIdx="0" presStyleCnt="4"/>
      <dgm:spPr/>
    </dgm:pt>
    <dgm:pt modelId="{221DABB5-442F-4910-ABF0-4D3F2F02F672}" type="pres">
      <dgm:prSet presAssocID="{43DA420F-BFCA-40FF-801F-76B81C9C8E9C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2B8E1CC-AA23-481C-A6B7-BB6937F7723D}" type="pres">
      <dgm:prSet presAssocID="{43DA420F-BFCA-40FF-801F-76B81C9C8E9C}" presName="accent_1" presStyleCnt="0"/>
      <dgm:spPr/>
    </dgm:pt>
    <dgm:pt modelId="{867B2197-EFD7-4530-92BB-8169CECB272B}" type="pres">
      <dgm:prSet presAssocID="{43DA420F-BFCA-40FF-801F-76B81C9C8E9C}" presName="accentRepeatNode" presStyleLbl="solidFgAcc1" presStyleIdx="0" presStyleCnt="4"/>
      <dgm:spPr/>
    </dgm:pt>
    <dgm:pt modelId="{80C27482-729D-4111-8710-8556D95C0D0F}" type="pres">
      <dgm:prSet presAssocID="{A7AE8DD9-BCAC-4A63-977B-D783A4DC0DB5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453826E0-C5CD-4A8A-A3CF-1FDC650A4834}" type="pres">
      <dgm:prSet presAssocID="{A7AE8DD9-BCAC-4A63-977B-D783A4DC0DB5}" presName="accent_2" presStyleCnt="0"/>
      <dgm:spPr/>
    </dgm:pt>
    <dgm:pt modelId="{48B989E1-BA07-4712-94CD-97B1E58DFACF}" type="pres">
      <dgm:prSet presAssocID="{A7AE8DD9-BCAC-4A63-977B-D783A4DC0DB5}" presName="accentRepeatNode" presStyleLbl="solidFgAcc1" presStyleIdx="1" presStyleCnt="4"/>
      <dgm:spPr/>
    </dgm:pt>
    <dgm:pt modelId="{19904FFE-8834-4214-9C13-5EDE0B0ED25D}" type="pres">
      <dgm:prSet presAssocID="{C0929D4D-96E7-4F00-B600-12DB9DB5911D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A004D866-6F92-45CF-9D4A-224C75BFAA2D}" type="pres">
      <dgm:prSet presAssocID="{C0929D4D-96E7-4F00-B600-12DB9DB5911D}" presName="accent_3" presStyleCnt="0"/>
      <dgm:spPr/>
    </dgm:pt>
    <dgm:pt modelId="{8671B84C-96AC-436B-AA61-B78C29E02178}" type="pres">
      <dgm:prSet presAssocID="{C0929D4D-96E7-4F00-B600-12DB9DB5911D}" presName="accentRepeatNode" presStyleLbl="solidFgAcc1" presStyleIdx="2" presStyleCnt="4"/>
      <dgm:spPr/>
    </dgm:pt>
    <dgm:pt modelId="{0E4E6D48-0DF6-40EC-B98C-4ACE9B22F8AD}" type="pres">
      <dgm:prSet presAssocID="{5363A4A9-8AC6-41B0-9942-83EA8D0612E5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AU"/>
        </a:p>
      </dgm:t>
    </dgm:pt>
    <dgm:pt modelId="{F3AA226D-7A6D-4039-9B33-B78F6179A673}" type="pres">
      <dgm:prSet presAssocID="{5363A4A9-8AC6-41B0-9942-83EA8D0612E5}" presName="accent_4" presStyleCnt="0"/>
      <dgm:spPr/>
    </dgm:pt>
    <dgm:pt modelId="{FEDDBF90-99A7-4BE1-8A50-76123A3A83E0}" type="pres">
      <dgm:prSet presAssocID="{5363A4A9-8AC6-41B0-9942-83EA8D0612E5}" presName="accentRepeatNode" presStyleLbl="solidFgAcc1" presStyleIdx="3" presStyleCnt="4"/>
      <dgm:spPr/>
    </dgm:pt>
  </dgm:ptLst>
  <dgm:cxnLst>
    <dgm:cxn modelId="{04324E82-A04E-40B6-A0C5-685B95E1F29B}" type="presOf" srcId="{A7AE8DD9-BCAC-4A63-977B-D783A4DC0DB5}" destId="{80C27482-729D-4111-8710-8556D95C0D0F}" srcOrd="0" destOrd="0" presId="urn:microsoft.com/office/officeart/2008/layout/VerticalCurvedList"/>
    <dgm:cxn modelId="{3C77F646-FDB4-4B67-A9FD-E2F77CBE608D}" type="presOf" srcId="{CF61044E-483C-4138-A585-891788FAD9CE}" destId="{7735C7DA-7C01-4ACE-A66A-280AC1C62CC7}" srcOrd="0" destOrd="0" presId="urn:microsoft.com/office/officeart/2008/layout/VerticalCurvedList"/>
    <dgm:cxn modelId="{C7A5F5B8-6021-47CF-8C90-65FD77F4BC1D}" srcId="{CF61044E-483C-4138-A585-891788FAD9CE}" destId="{5363A4A9-8AC6-41B0-9942-83EA8D0612E5}" srcOrd="3" destOrd="0" parTransId="{8DD39041-9950-49F5-9D13-A15F8589D946}" sibTransId="{2B4D6341-CF40-4C1D-9062-B359D5346CA1}"/>
    <dgm:cxn modelId="{1713F9A7-3335-4DA7-8747-6D2E08F87A03}" srcId="{CF61044E-483C-4138-A585-891788FAD9CE}" destId="{43DA420F-BFCA-40FF-801F-76B81C9C8E9C}" srcOrd="0" destOrd="0" parTransId="{A2E0C780-4128-4B1D-BCAB-B7D853CEE4A6}" sibTransId="{D53B26B0-1758-4201-B68E-5580E12C1CF4}"/>
    <dgm:cxn modelId="{4074ADBD-7147-4883-B001-254C36349FF6}" srcId="{CF61044E-483C-4138-A585-891788FAD9CE}" destId="{C0929D4D-96E7-4F00-B600-12DB9DB5911D}" srcOrd="2" destOrd="0" parTransId="{FF857C48-485C-4015-A78A-84B448E24A31}" sibTransId="{B07A2C6E-D647-42B8-93E0-02ED506DFD08}"/>
    <dgm:cxn modelId="{127F2E68-7AF5-4A46-90B8-8D37E61F9CC2}" type="presOf" srcId="{5363A4A9-8AC6-41B0-9942-83EA8D0612E5}" destId="{0E4E6D48-0DF6-40EC-B98C-4ACE9B22F8AD}" srcOrd="0" destOrd="0" presId="urn:microsoft.com/office/officeart/2008/layout/VerticalCurvedList"/>
    <dgm:cxn modelId="{8F5FB6DE-4AE8-4216-86B6-95E6DB6B3D15}" type="presOf" srcId="{43DA420F-BFCA-40FF-801F-76B81C9C8E9C}" destId="{221DABB5-442F-4910-ABF0-4D3F2F02F672}" srcOrd="0" destOrd="0" presId="urn:microsoft.com/office/officeart/2008/layout/VerticalCurvedList"/>
    <dgm:cxn modelId="{48F90C44-834C-4956-AC58-54E43B4A91AC}" type="presOf" srcId="{D53B26B0-1758-4201-B68E-5580E12C1CF4}" destId="{50AD6BFD-98B4-495F-AE1E-B89581EE6631}" srcOrd="0" destOrd="0" presId="urn:microsoft.com/office/officeart/2008/layout/VerticalCurvedList"/>
    <dgm:cxn modelId="{2079F823-B345-4755-B880-7600637AD3AA}" srcId="{CF61044E-483C-4138-A585-891788FAD9CE}" destId="{A7AE8DD9-BCAC-4A63-977B-D783A4DC0DB5}" srcOrd="1" destOrd="0" parTransId="{6A61836F-F8A0-4C0F-99C1-C71B31B46165}" sibTransId="{6813DB18-0C42-4DD2-9E7F-268054734F63}"/>
    <dgm:cxn modelId="{BC175056-204F-4849-B157-7A25813D9CE8}" type="presOf" srcId="{C0929D4D-96E7-4F00-B600-12DB9DB5911D}" destId="{19904FFE-8834-4214-9C13-5EDE0B0ED25D}" srcOrd="0" destOrd="0" presId="urn:microsoft.com/office/officeart/2008/layout/VerticalCurvedList"/>
    <dgm:cxn modelId="{0C8A69CA-6971-428D-A386-B5A0664C23AD}" type="presParOf" srcId="{7735C7DA-7C01-4ACE-A66A-280AC1C62CC7}" destId="{363A6066-5282-4761-B25A-B75CF5EC1D07}" srcOrd="0" destOrd="0" presId="urn:microsoft.com/office/officeart/2008/layout/VerticalCurvedList"/>
    <dgm:cxn modelId="{FF77F748-CEFA-4F0A-B179-5376EEB7D913}" type="presParOf" srcId="{363A6066-5282-4761-B25A-B75CF5EC1D07}" destId="{D5C9D620-8C62-453C-9E57-ACD3588849F7}" srcOrd="0" destOrd="0" presId="urn:microsoft.com/office/officeart/2008/layout/VerticalCurvedList"/>
    <dgm:cxn modelId="{8E887B17-FB63-4B38-BD56-1537D7D97EBB}" type="presParOf" srcId="{D5C9D620-8C62-453C-9E57-ACD3588849F7}" destId="{5188DD5A-47DB-48E6-AF0A-0228D1ADE110}" srcOrd="0" destOrd="0" presId="urn:microsoft.com/office/officeart/2008/layout/VerticalCurvedList"/>
    <dgm:cxn modelId="{37DC3300-DBB5-4C4C-8C95-FC3138EFDFDA}" type="presParOf" srcId="{D5C9D620-8C62-453C-9E57-ACD3588849F7}" destId="{50AD6BFD-98B4-495F-AE1E-B89581EE6631}" srcOrd="1" destOrd="0" presId="urn:microsoft.com/office/officeart/2008/layout/VerticalCurvedList"/>
    <dgm:cxn modelId="{629EC550-711C-4A28-A719-2BE2BB692F06}" type="presParOf" srcId="{D5C9D620-8C62-453C-9E57-ACD3588849F7}" destId="{B540BFD1-40FF-4157-8018-639C0A41ABFA}" srcOrd="2" destOrd="0" presId="urn:microsoft.com/office/officeart/2008/layout/VerticalCurvedList"/>
    <dgm:cxn modelId="{462D2182-7FBA-478F-A7D2-D23FF2BD5933}" type="presParOf" srcId="{D5C9D620-8C62-453C-9E57-ACD3588849F7}" destId="{C412EDD0-0150-4F5C-8745-6A11661A2572}" srcOrd="3" destOrd="0" presId="urn:microsoft.com/office/officeart/2008/layout/VerticalCurvedList"/>
    <dgm:cxn modelId="{77E6D307-5B51-492A-8312-A18A03B7CC42}" type="presParOf" srcId="{363A6066-5282-4761-B25A-B75CF5EC1D07}" destId="{221DABB5-442F-4910-ABF0-4D3F2F02F672}" srcOrd="1" destOrd="0" presId="urn:microsoft.com/office/officeart/2008/layout/VerticalCurvedList"/>
    <dgm:cxn modelId="{0C810059-EB9B-4E06-BB19-5BDDFD3629F1}" type="presParOf" srcId="{363A6066-5282-4761-B25A-B75CF5EC1D07}" destId="{92B8E1CC-AA23-481C-A6B7-BB6937F7723D}" srcOrd="2" destOrd="0" presId="urn:microsoft.com/office/officeart/2008/layout/VerticalCurvedList"/>
    <dgm:cxn modelId="{7B353F6E-300B-4A10-849A-7ABCBF9159A8}" type="presParOf" srcId="{92B8E1CC-AA23-481C-A6B7-BB6937F7723D}" destId="{867B2197-EFD7-4530-92BB-8169CECB272B}" srcOrd="0" destOrd="0" presId="urn:microsoft.com/office/officeart/2008/layout/VerticalCurvedList"/>
    <dgm:cxn modelId="{1FFD711A-1EEB-4E61-84D2-6B2804D7FD64}" type="presParOf" srcId="{363A6066-5282-4761-B25A-B75CF5EC1D07}" destId="{80C27482-729D-4111-8710-8556D95C0D0F}" srcOrd="3" destOrd="0" presId="urn:microsoft.com/office/officeart/2008/layout/VerticalCurvedList"/>
    <dgm:cxn modelId="{78A3D662-F1A3-4B34-BAA1-D7B9532F50C9}" type="presParOf" srcId="{363A6066-5282-4761-B25A-B75CF5EC1D07}" destId="{453826E0-C5CD-4A8A-A3CF-1FDC650A4834}" srcOrd="4" destOrd="0" presId="urn:microsoft.com/office/officeart/2008/layout/VerticalCurvedList"/>
    <dgm:cxn modelId="{A05FE99A-CA3B-4797-83D5-7E748FCF58C0}" type="presParOf" srcId="{453826E0-C5CD-4A8A-A3CF-1FDC650A4834}" destId="{48B989E1-BA07-4712-94CD-97B1E58DFACF}" srcOrd="0" destOrd="0" presId="urn:microsoft.com/office/officeart/2008/layout/VerticalCurvedList"/>
    <dgm:cxn modelId="{C3836ACF-A1AA-4F7F-A687-083FD3F28F05}" type="presParOf" srcId="{363A6066-5282-4761-B25A-B75CF5EC1D07}" destId="{19904FFE-8834-4214-9C13-5EDE0B0ED25D}" srcOrd="5" destOrd="0" presId="urn:microsoft.com/office/officeart/2008/layout/VerticalCurvedList"/>
    <dgm:cxn modelId="{2D1DA07D-1AC7-4762-A4B2-A77F8AF3C316}" type="presParOf" srcId="{363A6066-5282-4761-B25A-B75CF5EC1D07}" destId="{A004D866-6F92-45CF-9D4A-224C75BFAA2D}" srcOrd="6" destOrd="0" presId="urn:microsoft.com/office/officeart/2008/layout/VerticalCurvedList"/>
    <dgm:cxn modelId="{56C9FB14-87FB-4FF1-8DBB-5280C701416C}" type="presParOf" srcId="{A004D866-6F92-45CF-9D4A-224C75BFAA2D}" destId="{8671B84C-96AC-436B-AA61-B78C29E02178}" srcOrd="0" destOrd="0" presId="urn:microsoft.com/office/officeart/2008/layout/VerticalCurvedList"/>
    <dgm:cxn modelId="{3A551206-1800-4707-9858-C7365D51CE45}" type="presParOf" srcId="{363A6066-5282-4761-B25A-B75CF5EC1D07}" destId="{0E4E6D48-0DF6-40EC-B98C-4ACE9B22F8AD}" srcOrd="7" destOrd="0" presId="urn:microsoft.com/office/officeart/2008/layout/VerticalCurvedList"/>
    <dgm:cxn modelId="{12B4894A-75ED-4142-9A69-C5A4A3C39F02}" type="presParOf" srcId="{363A6066-5282-4761-B25A-B75CF5EC1D07}" destId="{F3AA226D-7A6D-4039-9B33-B78F6179A673}" srcOrd="8" destOrd="0" presId="urn:microsoft.com/office/officeart/2008/layout/VerticalCurvedList"/>
    <dgm:cxn modelId="{38D5965D-5283-49DB-81D0-7C4B98D2E0FE}" type="presParOf" srcId="{F3AA226D-7A6D-4039-9B33-B78F6179A673}" destId="{FEDDBF90-99A7-4BE1-8A50-76123A3A83E0}" srcOrd="0" destOrd="0" presId="urn:microsoft.com/office/officeart/2008/layout/VerticalCurvedList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209" cy="466166"/>
          </a:xfrm>
          <a:prstGeom prst="rect">
            <a:avLst/>
          </a:prstGeom>
        </p:spPr>
        <p:txBody>
          <a:bodyPr vert="horz" lIns="89666" tIns="44833" rIns="89666" bIns="4483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259" y="0"/>
            <a:ext cx="2972209" cy="466166"/>
          </a:xfrm>
          <a:prstGeom prst="rect">
            <a:avLst/>
          </a:prstGeom>
        </p:spPr>
        <p:txBody>
          <a:bodyPr vert="horz" lIns="89666" tIns="44833" rIns="89666" bIns="44833" rtlCol="0"/>
          <a:lstStyle>
            <a:lvl1pPr algn="r">
              <a:defRPr sz="1200"/>
            </a:lvl1pPr>
          </a:lstStyle>
          <a:p>
            <a:fld id="{52EC9870-A5BC-41B9-89BD-C68731790311}" type="datetimeFigureOut">
              <a:rPr lang="en-US" smtClean="0"/>
              <a:pPr/>
              <a:t>8/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7697"/>
            <a:ext cx="2972209" cy="466166"/>
          </a:xfrm>
          <a:prstGeom prst="rect">
            <a:avLst/>
          </a:prstGeom>
        </p:spPr>
        <p:txBody>
          <a:bodyPr vert="horz" lIns="89666" tIns="44833" rIns="89666" bIns="4483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259" y="8847697"/>
            <a:ext cx="2972209" cy="466166"/>
          </a:xfrm>
          <a:prstGeom prst="rect">
            <a:avLst/>
          </a:prstGeom>
        </p:spPr>
        <p:txBody>
          <a:bodyPr vert="horz" lIns="89666" tIns="44833" rIns="89666" bIns="44833" rtlCol="0" anchor="b"/>
          <a:lstStyle>
            <a:lvl1pPr algn="r">
              <a:defRPr sz="1200"/>
            </a:lvl1pPr>
          </a:lstStyle>
          <a:p>
            <a:fld id="{A7C4CE84-88F5-4E0B-AEBB-6914D25DAF5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328303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7310"/>
          </a:xfrm>
          <a:prstGeom prst="rect">
            <a:avLst/>
          </a:prstGeom>
        </p:spPr>
        <p:txBody>
          <a:bodyPr vert="horz" lIns="92401" tIns="46200" rIns="92401" bIns="4620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7310"/>
          </a:xfrm>
          <a:prstGeom prst="rect">
            <a:avLst/>
          </a:prstGeom>
        </p:spPr>
        <p:txBody>
          <a:bodyPr vert="horz" lIns="92401" tIns="46200" rIns="92401" bIns="46200" rtlCol="0"/>
          <a:lstStyle>
            <a:lvl1pPr algn="r">
              <a:defRPr sz="1200"/>
            </a:lvl1pPr>
          </a:lstStyle>
          <a:p>
            <a:fld id="{45B1A72F-F35F-4386-9E38-5DD4B5B39050}" type="datetimeFigureOut">
              <a:rPr lang="en-US" smtClean="0"/>
              <a:pPr/>
              <a:t>8/3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35000" y="1163638"/>
            <a:ext cx="5588000" cy="31432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01" tIns="46200" rIns="92401" bIns="4620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82297"/>
            <a:ext cx="5486400" cy="3667334"/>
          </a:xfrm>
          <a:prstGeom prst="rect">
            <a:avLst/>
          </a:prstGeom>
        </p:spPr>
        <p:txBody>
          <a:bodyPr vert="horz" lIns="92401" tIns="46200" rIns="92401" bIns="4620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6554"/>
            <a:ext cx="2971800" cy="467309"/>
          </a:xfrm>
          <a:prstGeom prst="rect">
            <a:avLst/>
          </a:prstGeom>
        </p:spPr>
        <p:txBody>
          <a:bodyPr vert="horz" lIns="92401" tIns="46200" rIns="92401" bIns="4620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46554"/>
            <a:ext cx="2971800" cy="467309"/>
          </a:xfrm>
          <a:prstGeom prst="rect">
            <a:avLst/>
          </a:prstGeom>
        </p:spPr>
        <p:txBody>
          <a:bodyPr vert="horz" lIns="92401" tIns="46200" rIns="92401" bIns="46200" rtlCol="0" anchor="b"/>
          <a:lstStyle>
            <a:lvl1pPr algn="r">
              <a:defRPr sz="1200"/>
            </a:lvl1pPr>
          </a:lstStyle>
          <a:p>
            <a:fld id="{AAC6A893-032A-4BE1-9FAC-3D7B4EBB65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268314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3413" y="1163638"/>
            <a:ext cx="5591175" cy="31448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40BED-D48B-8749-8A0B-AD12CFE2B2D4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80358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40BED-D48B-8749-8A0B-AD12CFE2B2D4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970104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D" dirty="0" smtClean="0"/>
              <a:t>Note </a:t>
            </a:r>
            <a:r>
              <a:rPr lang="en-ID" dirty="0" err="1" smtClean="0"/>
              <a:t>revisi</a:t>
            </a:r>
            <a:r>
              <a:rPr lang="en-ID" dirty="0" smtClean="0"/>
              <a:t> :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en-ID" dirty="0" err="1" smtClean="0"/>
              <a:t>Biaya</a:t>
            </a:r>
            <a:r>
              <a:rPr lang="en-ID" dirty="0" smtClean="0"/>
              <a:t> </a:t>
            </a:r>
            <a:r>
              <a:rPr lang="en-ID" dirty="0" err="1" smtClean="0"/>
              <a:t>Administrasi</a:t>
            </a:r>
            <a:r>
              <a:rPr lang="en-ID" dirty="0" smtClean="0"/>
              <a:t> </a:t>
            </a:r>
            <a:r>
              <a:rPr lang="en-ID" dirty="0" err="1" smtClean="0"/>
              <a:t>rendah</a:t>
            </a:r>
            <a:endParaRPr lang="en-ID" dirty="0" smtClean="0"/>
          </a:p>
          <a:p>
            <a:pPr marL="171450" indent="-171450">
              <a:buFont typeface="Wingdings" pitchFamily="2" charset="2"/>
              <a:buChar char="§"/>
            </a:pPr>
            <a:r>
              <a:rPr lang="en-ID" dirty="0" smtClean="0"/>
              <a:t>Proses </a:t>
            </a:r>
            <a:r>
              <a:rPr lang="en-ID" dirty="0" err="1" smtClean="0"/>
              <a:t>pencairan</a:t>
            </a:r>
            <a:r>
              <a:rPr lang="en-ID" dirty="0" smtClean="0"/>
              <a:t> 1-2 jam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en-ID" dirty="0" err="1" smtClean="0"/>
              <a:t>Nasabah</a:t>
            </a:r>
            <a:r>
              <a:rPr lang="en-ID" dirty="0" smtClean="0"/>
              <a:t> </a:t>
            </a:r>
            <a:r>
              <a:rPr lang="en-ID" dirty="0" err="1" smtClean="0"/>
              <a:t>dilindungi</a:t>
            </a:r>
            <a:r>
              <a:rPr lang="en-ID" dirty="0" smtClean="0"/>
              <a:t> </a:t>
            </a:r>
            <a:r>
              <a:rPr lang="en-ID" dirty="0" err="1" smtClean="0"/>
              <a:t>oleh</a:t>
            </a:r>
            <a:r>
              <a:rPr lang="en-ID" dirty="0" smtClean="0"/>
              <a:t> </a:t>
            </a:r>
            <a:r>
              <a:rPr lang="en-ID" dirty="0" err="1" smtClean="0"/>
              <a:t>asuransi</a:t>
            </a:r>
            <a:r>
              <a:rPr lang="en-ID" dirty="0" smtClean="0"/>
              <a:t> </a:t>
            </a:r>
            <a:r>
              <a:rPr lang="en-ID" dirty="0" err="1" smtClean="0"/>
              <a:t>dengan</a:t>
            </a:r>
            <a:r>
              <a:rPr lang="en-ID" dirty="0" smtClean="0"/>
              <a:t> </a:t>
            </a:r>
            <a:r>
              <a:rPr lang="en-ID" dirty="0" err="1" smtClean="0"/>
              <a:t>premi</a:t>
            </a:r>
            <a:r>
              <a:rPr lang="en-ID" dirty="0" smtClean="0"/>
              <a:t> </a:t>
            </a:r>
            <a:r>
              <a:rPr lang="en-ID" dirty="0" err="1" smtClean="0"/>
              <a:t>murah</a:t>
            </a:r>
            <a:r>
              <a:rPr lang="en-ID" dirty="0" smtClean="0"/>
              <a:t> </a:t>
            </a:r>
            <a:r>
              <a:rPr lang="en-ID" dirty="0" err="1" smtClean="0"/>
              <a:t>sehingga</a:t>
            </a:r>
            <a:r>
              <a:rPr lang="en-ID" dirty="0" smtClean="0"/>
              <a:t> </a:t>
            </a:r>
            <a:r>
              <a:rPr lang="en-ID" dirty="0" err="1" smtClean="0"/>
              <a:t>apabila</a:t>
            </a:r>
            <a:r>
              <a:rPr lang="en-ID" dirty="0" smtClean="0"/>
              <a:t> </a:t>
            </a:r>
            <a:r>
              <a:rPr lang="en-ID" dirty="0" err="1" smtClean="0"/>
              <a:t>meninggal</a:t>
            </a:r>
            <a:r>
              <a:rPr lang="en-ID" dirty="0" smtClean="0"/>
              <a:t> </a:t>
            </a:r>
            <a:r>
              <a:rPr lang="en-ID" dirty="0" err="1" smtClean="0"/>
              <a:t>maka</a:t>
            </a:r>
            <a:r>
              <a:rPr lang="en-ID" dirty="0" smtClean="0"/>
              <a:t> </a:t>
            </a:r>
            <a:r>
              <a:rPr lang="en-ID" dirty="0" err="1" smtClean="0"/>
              <a:t>pinjaman</a:t>
            </a:r>
            <a:r>
              <a:rPr lang="en-ID" dirty="0" smtClean="0"/>
              <a:t> </a:t>
            </a:r>
            <a:r>
              <a:rPr lang="en-ID" dirty="0" err="1" smtClean="0"/>
              <a:t>luna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40BED-D48B-8749-8A0B-AD12CFE2B2D4}" type="slidenum">
              <a:rPr lang="en-US" smtClean="0"/>
              <a:pPr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9736377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49D-0D9C-4DF4-B4D6-26746EA75D40}" type="datetimeFigureOut">
              <a:rPr lang="en-US" smtClean="0"/>
              <a:pPr/>
              <a:t>8/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50929D-EDB6-4209-8745-549642047A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857858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49D-0D9C-4DF4-B4D6-26746EA75D40}" type="datetimeFigureOut">
              <a:rPr lang="en-US" smtClean="0"/>
              <a:pPr/>
              <a:t>8/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50929D-EDB6-4209-8745-549642047A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025485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49D-0D9C-4DF4-B4D6-26746EA75D40}" type="datetimeFigureOut">
              <a:rPr lang="en-US" smtClean="0"/>
              <a:pPr/>
              <a:t>8/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50929D-EDB6-4209-8745-549642047A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1715543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CBC85CF1-FA59-9D45-B389-052307F4958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3AA64672-A295-4C41-B597-2077717F254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083787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CBC85CF1-FA59-9D45-B389-052307F4958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3AA64672-A295-4C41-B597-2077717F254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671070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CBC85CF1-FA59-9D45-B389-052307F4958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3AA64672-A295-4C41-B597-2077717F254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741976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CBC85CF1-FA59-9D45-B389-052307F4958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3AA64672-A295-4C41-B597-2077717F254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83709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CBC85CF1-FA59-9D45-B389-052307F4958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3AA64672-A295-4C41-B597-2077717F254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114664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CBC85CF1-FA59-9D45-B389-052307F4958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3AA64672-A295-4C41-B597-2077717F254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029312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CBC85CF1-FA59-9D45-B389-052307F4958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3AA64672-A295-4C41-B597-2077717F254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990770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CBC85CF1-FA59-9D45-B389-052307F4958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3AA64672-A295-4C41-B597-2077717F254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825620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49D-0D9C-4DF4-B4D6-26746EA75D40}" type="datetimeFigureOut">
              <a:rPr lang="en-US" smtClean="0"/>
              <a:pPr/>
              <a:t>8/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50929D-EDB6-4209-8745-549642047A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1161620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CBC85CF1-FA59-9D45-B389-052307F4958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3AA64672-A295-4C41-B597-2077717F254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187229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CBC85CF1-FA59-9D45-B389-052307F4958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3AA64672-A295-4C41-B597-2077717F254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724994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CBC85CF1-FA59-9D45-B389-052307F4958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3AA64672-A295-4C41-B597-2077717F254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62638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77171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55901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579770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855904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467014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622560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3196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49D-0D9C-4DF4-B4D6-26746EA75D40}" type="datetimeFigureOut">
              <a:rPr lang="en-US" smtClean="0"/>
              <a:pPr/>
              <a:t>8/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50929D-EDB6-4209-8745-549642047A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833928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14342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861860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25920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439202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682805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666032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7099189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406033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9452269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168563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49D-0D9C-4DF4-B4D6-26746EA75D40}" type="datetimeFigureOut">
              <a:rPr lang="en-US" smtClean="0"/>
              <a:pPr/>
              <a:t>8/3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50929D-EDB6-4209-8745-549642047A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634313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430947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483390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657059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9500483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8861844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BF6099C8-70D1-E044-9BAC-2AAA9017C21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FB0CF179-6A88-7342-AEC7-A99CB85646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606598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BF6099C8-70D1-E044-9BAC-2AAA9017C21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FB0CF179-6A88-7342-AEC7-A99CB85646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614555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BF6099C8-70D1-E044-9BAC-2AAA9017C21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FB0CF179-6A88-7342-AEC7-A99CB85646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2005981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BF6099C8-70D1-E044-9BAC-2AAA9017C21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FB0CF179-6A88-7342-AEC7-A99CB85646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2948974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BF6099C8-70D1-E044-9BAC-2AAA9017C21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FB0CF179-6A88-7342-AEC7-A99CB85646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448821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49D-0D9C-4DF4-B4D6-26746EA75D40}" type="datetimeFigureOut">
              <a:rPr lang="en-US" smtClean="0"/>
              <a:pPr/>
              <a:t>8/3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50929D-EDB6-4209-8745-549642047A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12688097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BF6099C8-70D1-E044-9BAC-2AAA9017C21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FB0CF179-6A88-7342-AEC7-A99CB85646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646974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BF6099C8-70D1-E044-9BAC-2AAA9017C21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FB0CF179-6A88-7342-AEC7-A99CB85646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1301483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BF6099C8-70D1-E044-9BAC-2AAA9017C21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FB0CF179-6A88-7342-AEC7-A99CB85646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004160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BF6099C8-70D1-E044-9BAC-2AAA9017C21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FB0CF179-6A88-7342-AEC7-A99CB85646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1286938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BF6099C8-70D1-E044-9BAC-2AAA9017C21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FB0CF179-6A88-7342-AEC7-A99CB85646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8512212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200"/>
            <a:fld id="{BF6099C8-70D1-E044-9BAC-2AAA9017C21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200"/>
            <a:fld id="{FB0CF179-6A88-7342-AEC7-A99CB85646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146414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49D-0D9C-4DF4-B4D6-26746EA75D40}" type="datetimeFigureOut">
              <a:rPr lang="en-US" smtClean="0"/>
              <a:pPr/>
              <a:t>8/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50929D-EDB6-4209-8745-549642047A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864306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49D-0D9C-4DF4-B4D6-26746EA75D40}" type="datetimeFigureOut">
              <a:rPr lang="en-US" smtClean="0"/>
              <a:pPr/>
              <a:t>8/3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50929D-EDB6-4209-8745-549642047A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9395217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49D-0D9C-4DF4-B4D6-26746EA75D40}" type="datetimeFigureOut">
              <a:rPr lang="en-US" smtClean="0"/>
              <a:pPr/>
              <a:t>8/3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50929D-EDB6-4209-8745-549642047A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463396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BA49D-0D9C-4DF4-B4D6-26746EA75D40}" type="datetimeFigureOut">
              <a:rPr lang="en-US" smtClean="0"/>
              <a:pPr/>
              <a:t>8/3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50929D-EDB6-4209-8745-549642047A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314466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DBA49D-0D9C-4DF4-B4D6-26746EA75D40}" type="datetimeFigureOut">
              <a:rPr lang="en-US" smtClean="0"/>
              <a:pPr/>
              <a:t>8/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50929D-EDB6-4209-8745-549642047A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53921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CBC85CF1-FA59-9D45-B389-052307F4958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3AA64672-A295-4C41-B597-2077717F254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 descr="Untitled-2.png"/>
          <p:cNvPicPr>
            <a:picLocks noChangeAspect="1"/>
          </p:cNvPicPr>
          <p:nvPr userDrawn="1"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912618" y="5556850"/>
            <a:ext cx="11279383" cy="1572227"/>
          </a:xfrm>
          <a:prstGeom prst="rect">
            <a:avLst/>
          </a:prstGeom>
        </p:spPr>
      </p:pic>
      <p:pic>
        <p:nvPicPr>
          <p:cNvPr id="8" name="Picture 7" descr="logo Bank Mantap PNG.png"/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478614" y="207798"/>
            <a:ext cx="3378287" cy="1392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74762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reeform 29"/>
          <p:cNvSpPr>
            <a:spLocks/>
          </p:cNvSpPr>
          <p:nvPr/>
        </p:nvSpPr>
        <p:spPr bwMode="auto">
          <a:xfrm>
            <a:off x="11091333" y="333376"/>
            <a:ext cx="1100667" cy="1071563"/>
          </a:xfrm>
          <a:custGeom>
            <a:avLst/>
            <a:gdLst>
              <a:gd name="T0" fmla="*/ 0 w 237"/>
              <a:gd name="T1" fmla="*/ 114 h 276"/>
              <a:gd name="T2" fmla="*/ 237 w 237"/>
              <a:gd name="T3" fmla="*/ 0 h 276"/>
              <a:gd name="T4" fmla="*/ 237 w 237"/>
              <a:gd name="T5" fmla="*/ 244 h 276"/>
              <a:gd name="T6" fmla="*/ 79 w 237"/>
              <a:gd name="T7" fmla="*/ 215 h 276"/>
              <a:gd name="T8" fmla="*/ 0 w 237"/>
              <a:gd name="T9" fmla="*/ 114 h 2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7" h="276">
                <a:moveTo>
                  <a:pt x="0" y="114"/>
                </a:moveTo>
                <a:cubicBezTo>
                  <a:pt x="237" y="0"/>
                  <a:pt x="237" y="0"/>
                  <a:pt x="237" y="0"/>
                </a:cubicBezTo>
                <a:cubicBezTo>
                  <a:pt x="237" y="244"/>
                  <a:pt x="237" y="244"/>
                  <a:pt x="237" y="244"/>
                </a:cubicBezTo>
                <a:cubicBezTo>
                  <a:pt x="162" y="276"/>
                  <a:pt x="110" y="240"/>
                  <a:pt x="79" y="215"/>
                </a:cubicBezTo>
                <a:cubicBezTo>
                  <a:pt x="43" y="186"/>
                  <a:pt x="0" y="114"/>
                  <a:pt x="0" y="114"/>
                </a:cubicBezTo>
                <a:close/>
              </a:path>
            </a:pathLst>
          </a:custGeom>
          <a:solidFill>
            <a:srgbClr val="FFCD10"/>
          </a:solidFill>
          <a:ln>
            <a:noFill/>
          </a:ln>
        </p:spPr>
        <p:txBody>
          <a:bodyPr lIns="103139" tIns="51569" rIns="103139" bIns="51569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Line 7"/>
          <p:cNvSpPr>
            <a:spLocks noChangeShapeType="1"/>
          </p:cNvSpPr>
          <p:nvPr/>
        </p:nvSpPr>
        <p:spPr bwMode="auto">
          <a:xfrm flipH="1">
            <a:off x="719667" y="757238"/>
            <a:ext cx="10272184" cy="0"/>
          </a:xfrm>
          <a:prstGeom prst="line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57684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A2AAFF57-9471-2C47-BA55-21C6D3EEFDF4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7CED1667-24B5-584E-A376-1F4C204A117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reeform 29"/>
          <p:cNvSpPr>
            <a:spLocks/>
          </p:cNvSpPr>
          <p:nvPr/>
        </p:nvSpPr>
        <p:spPr bwMode="auto">
          <a:xfrm>
            <a:off x="11091333" y="333376"/>
            <a:ext cx="1100667" cy="1071563"/>
          </a:xfrm>
          <a:custGeom>
            <a:avLst/>
            <a:gdLst>
              <a:gd name="T0" fmla="*/ 0 w 237"/>
              <a:gd name="T1" fmla="*/ 114 h 276"/>
              <a:gd name="T2" fmla="*/ 237 w 237"/>
              <a:gd name="T3" fmla="*/ 0 h 276"/>
              <a:gd name="T4" fmla="*/ 237 w 237"/>
              <a:gd name="T5" fmla="*/ 244 h 276"/>
              <a:gd name="T6" fmla="*/ 79 w 237"/>
              <a:gd name="T7" fmla="*/ 215 h 276"/>
              <a:gd name="T8" fmla="*/ 0 w 237"/>
              <a:gd name="T9" fmla="*/ 114 h 2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7" h="276">
                <a:moveTo>
                  <a:pt x="0" y="114"/>
                </a:moveTo>
                <a:cubicBezTo>
                  <a:pt x="237" y="0"/>
                  <a:pt x="237" y="0"/>
                  <a:pt x="237" y="0"/>
                </a:cubicBezTo>
                <a:cubicBezTo>
                  <a:pt x="237" y="244"/>
                  <a:pt x="237" y="244"/>
                  <a:pt x="237" y="244"/>
                </a:cubicBezTo>
                <a:cubicBezTo>
                  <a:pt x="162" y="276"/>
                  <a:pt x="110" y="240"/>
                  <a:pt x="79" y="215"/>
                </a:cubicBezTo>
                <a:cubicBezTo>
                  <a:pt x="43" y="186"/>
                  <a:pt x="0" y="114"/>
                  <a:pt x="0" y="114"/>
                </a:cubicBezTo>
                <a:close/>
              </a:path>
            </a:pathLst>
          </a:custGeom>
          <a:solidFill>
            <a:srgbClr val="FFCD10"/>
          </a:solidFill>
          <a:ln>
            <a:noFill/>
          </a:ln>
        </p:spPr>
        <p:txBody>
          <a:bodyPr lIns="103139" tIns="51569" rIns="103139" bIns="51569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Line 7"/>
          <p:cNvSpPr>
            <a:spLocks noChangeShapeType="1"/>
          </p:cNvSpPr>
          <p:nvPr/>
        </p:nvSpPr>
        <p:spPr bwMode="auto">
          <a:xfrm flipH="1">
            <a:off x="719667" y="757238"/>
            <a:ext cx="10272184" cy="0"/>
          </a:xfrm>
          <a:prstGeom prst="line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29545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BF6099C8-70D1-E044-9BAC-2AAA9017C218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8/3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FB0CF179-6A88-7342-AEC7-A99CB85646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6" descr="Untitled-3.jp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0"/>
            <a:ext cx="12192000" cy="6866021"/>
          </a:xfrm>
          <a:prstGeom prst="rect">
            <a:avLst/>
          </a:prstGeom>
        </p:spPr>
      </p:pic>
      <p:pic>
        <p:nvPicPr>
          <p:cNvPr id="8" name="Picture 7" descr="logo Bank Mantap blue.png"/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737600" y="5340631"/>
            <a:ext cx="2993475" cy="1233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87102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jpeg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2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59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8.jpeg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9.jpeg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3.jpeg"/><Relationship Id="rId4" Type="http://schemas.openxmlformats.org/officeDocument/2006/relationships/hyperlink" Target="file:///D:\Materi%20Sosialisasi%20baru\Video%20Pengenalan%20Bank%20Mantap.mp4" TargetMode="Externa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5" Type="http://schemas.openxmlformats.org/officeDocument/2006/relationships/image" Target="../media/image69.jpeg"/><Relationship Id="rId4" Type="http://schemas.openxmlformats.org/officeDocument/2006/relationships/image" Target="../media/image68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1.png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tags" Target="../tags/tag84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6" Type="http://schemas.openxmlformats.org/officeDocument/2006/relationships/tags" Target="../tags/tag16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5" Type="http://schemas.openxmlformats.org/officeDocument/2006/relationships/tags" Target="../tags/tag5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90" Type="http://schemas.openxmlformats.org/officeDocument/2006/relationships/tags" Target="../tags/tag90.xml"/><Relationship Id="rId95" Type="http://schemas.openxmlformats.org/officeDocument/2006/relationships/tags" Target="../tags/tag95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13" Type="http://schemas.openxmlformats.org/officeDocument/2006/relationships/tags" Target="../tags/tag113.xml"/><Relationship Id="rId118" Type="http://schemas.openxmlformats.org/officeDocument/2006/relationships/tags" Target="../tags/tag118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116" Type="http://schemas.openxmlformats.org/officeDocument/2006/relationships/tags" Target="../tags/tag116.xml"/><Relationship Id="rId124" Type="http://schemas.openxmlformats.org/officeDocument/2006/relationships/slideLayout" Target="../slideLayouts/slideLayout35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11" Type="http://schemas.openxmlformats.org/officeDocument/2006/relationships/tags" Target="../tags/tag11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14" Type="http://schemas.openxmlformats.org/officeDocument/2006/relationships/tags" Target="../tags/tag114.xml"/><Relationship Id="rId119" Type="http://schemas.openxmlformats.org/officeDocument/2006/relationships/tags" Target="../tags/tag119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120" Type="http://schemas.openxmlformats.org/officeDocument/2006/relationships/tags" Target="../tags/tag120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15" Type="http://schemas.openxmlformats.org/officeDocument/2006/relationships/tags" Target="../tags/tag1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10.png"/><Relationship Id="rId7" Type="http://schemas.openxmlformats.org/officeDocument/2006/relationships/image" Target="../media/image24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23.jpeg"/><Relationship Id="rId11" Type="http://schemas.openxmlformats.org/officeDocument/2006/relationships/image" Target="../media/image28.jpeg"/><Relationship Id="rId5" Type="http://schemas.openxmlformats.org/officeDocument/2006/relationships/image" Target="../media/image22.jpe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890000" y="411480"/>
            <a:ext cx="2730178" cy="140970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734749" y="2224584"/>
            <a:ext cx="10885429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1B3866"/>
                </a:solidFill>
                <a:latin typeface="Avenir Black" charset="0"/>
                <a:ea typeface="Avenir Medium" charset="0"/>
                <a:cs typeface="Avenir Medium" charset="0"/>
              </a:rPr>
              <a:t>SOSIALISASI KETASPENAN DAN PRODUK PERBANKAN</a:t>
            </a:r>
          </a:p>
          <a:p>
            <a:pPr algn="ctr"/>
            <a:endParaRPr lang="en-US" sz="4000" b="1" dirty="0" smtClean="0">
              <a:solidFill>
                <a:srgbClr val="1B3866"/>
              </a:solidFill>
              <a:latin typeface="Avenir Black" charset="0"/>
              <a:ea typeface="Avenir Medium" charset="0"/>
              <a:cs typeface="Avenir Medium" charset="0"/>
            </a:endParaRPr>
          </a:p>
          <a:p>
            <a:pPr algn="ctr"/>
            <a:r>
              <a:rPr lang="en-US" sz="4000" b="1" dirty="0" err="1" smtClean="0">
                <a:solidFill>
                  <a:srgbClr val="1B3866"/>
                </a:solidFill>
                <a:latin typeface="Avenir Black" charset="0"/>
                <a:ea typeface="Avenir Medium" charset="0"/>
                <a:cs typeface="Avenir Medium" charset="0"/>
              </a:rPr>
              <a:t>Bersama</a:t>
            </a:r>
            <a:r>
              <a:rPr lang="en-US" sz="4000" b="1" dirty="0" smtClean="0">
                <a:solidFill>
                  <a:srgbClr val="1B3866"/>
                </a:solidFill>
                <a:latin typeface="Avenir Black" charset="0"/>
                <a:ea typeface="Avenir Medium" charset="0"/>
                <a:cs typeface="Avenir Medium" charset="0"/>
              </a:rPr>
              <a:t> </a:t>
            </a:r>
            <a:r>
              <a:rPr lang="en-US" sz="4000" b="1" dirty="0" err="1" smtClean="0">
                <a:solidFill>
                  <a:srgbClr val="1B3866"/>
                </a:solidFill>
                <a:latin typeface="Avenir Black" charset="0"/>
                <a:ea typeface="Avenir Medium" charset="0"/>
                <a:cs typeface="Avenir Medium" charset="0"/>
              </a:rPr>
              <a:t>Universitas</a:t>
            </a:r>
            <a:r>
              <a:rPr lang="en-US" sz="4000" b="1" dirty="0" smtClean="0">
                <a:solidFill>
                  <a:srgbClr val="1B3866"/>
                </a:solidFill>
                <a:latin typeface="Avenir Black" charset="0"/>
                <a:ea typeface="Avenir Medium" charset="0"/>
                <a:cs typeface="Avenir Medium" charset="0"/>
              </a:rPr>
              <a:t> </a:t>
            </a:r>
            <a:r>
              <a:rPr lang="en-US" sz="4000" b="1" dirty="0" err="1" smtClean="0">
                <a:solidFill>
                  <a:srgbClr val="1B3866"/>
                </a:solidFill>
                <a:latin typeface="Avenir Black" charset="0"/>
                <a:ea typeface="Avenir Medium" charset="0"/>
                <a:cs typeface="Avenir Medium" charset="0"/>
              </a:rPr>
              <a:t>Negeri</a:t>
            </a:r>
            <a:r>
              <a:rPr lang="en-US" sz="4000" b="1" dirty="0" smtClean="0">
                <a:solidFill>
                  <a:srgbClr val="1B3866"/>
                </a:solidFill>
                <a:latin typeface="Avenir Black" charset="0"/>
                <a:ea typeface="Avenir Medium" charset="0"/>
                <a:cs typeface="Avenir Medium" charset="0"/>
              </a:rPr>
              <a:t> Malang, </a:t>
            </a:r>
          </a:p>
          <a:p>
            <a:pPr algn="ctr"/>
            <a:r>
              <a:rPr lang="en-US" sz="4000" b="1" dirty="0" smtClean="0">
                <a:solidFill>
                  <a:srgbClr val="1B3866"/>
                </a:solidFill>
                <a:latin typeface="Avenir Black" charset="0"/>
                <a:ea typeface="Avenir Medium" charset="0"/>
                <a:cs typeface="Avenir Medium" charset="0"/>
              </a:rPr>
              <a:t>PT </a:t>
            </a:r>
            <a:r>
              <a:rPr lang="en-US" sz="4000" b="1" dirty="0" err="1" smtClean="0">
                <a:solidFill>
                  <a:srgbClr val="1B3866"/>
                </a:solidFill>
                <a:latin typeface="Avenir Black" charset="0"/>
                <a:ea typeface="Avenir Medium" charset="0"/>
                <a:cs typeface="Avenir Medium" charset="0"/>
              </a:rPr>
              <a:t>Taspen</a:t>
            </a:r>
            <a:r>
              <a:rPr lang="en-US" sz="4000" b="1" dirty="0" smtClean="0">
                <a:solidFill>
                  <a:srgbClr val="1B3866"/>
                </a:solidFill>
                <a:latin typeface="Avenir Black" charset="0"/>
                <a:ea typeface="Avenir Medium" charset="0"/>
                <a:cs typeface="Avenir Medium" charset="0"/>
              </a:rPr>
              <a:t> (</a:t>
            </a:r>
            <a:r>
              <a:rPr lang="en-US" sz="4000" b="1" dirty="0" err="1" smtClean="0">
                <a:solidFill>
                  <a:srgbClr val="1B3866"/>
                </a:solidFill>
                <a:latin typeface="Avenir Black" charset="0"/>
                <a:ea typeface="Avenir Medium" charset="0"/>
                <a:cs typeface="Avenir Medium" charset="0"/>
              </a:rPr>
              <a:t>Persero</a:t>
            </a:r>
            <a:r>
              <a:rPr lang="en-US" sz="4000" b="1" dirty="0" smtClean="0">
                <a:solidFill>
                  <a:srgbClr val="1B3866"/>
                </a:solidFill>
                <a:latin typeface="Avenir Black" charset="0"/>
                <a:ea typeface="Avenir Medium" charset="0"/>
                <a:cs typeface="Avenir Medium" charset="0"/>
              </a:rPr>
              <a:t>) </a:t>
            </a:r>
            <a:r>
              <a:rPr lang="en-US" sz="4000" b="1" dirty="0" err="1" smtClean="0">
                <a:solidFill>
                  <a:srgbClr val="1B3866"/>
                </a:solidFill>
                <a:latin typeface="Avenir Black" charset="0"/>
                <a:ea typeface="Avenir Medium" charset="0"/>
                <a:cs typeface="Avenir Medium" charset="0"/>
              </a:rPr>
              <a:t>dan</a:t>
            </a:r>
            <a:r>
              <a:rPr lang="en-US" sz="4000" b="1" dirty="0" smtClean="0">
                <a:solidFill>
                  <a:srgbClr val="1B3866"/>
                </a:solidFill>
                <a:latin typeface="Avenir Black" charset="0"/>
                <a:ea typeface="Avenir Medium" charset="0"/>
                <a:cs typeface="Avenir Medium" charset="0"/>
              </a:rPr>
              <a:t> Bank </a:t>
            </a:r>
            <a:r>
              <a:rPr lang="en-US" sz="4000" b="1" dirty="0" err="1" smtClean="0">
                <a:solidFill>
                  <a:srgbClr val="1B3866"/>
                </a:solidFill>
                <a:latin typeface="Avenir Black" charset="0"/>
                <a:ea typeface="Avenir Medium" charset="0"/>
                <a:cs typeface="Avenir Medium" charset="0"/>
              </a:rPr>
              <a:t>Mantap</a:t>
            </a:r>
            <a:endParaRPr lang="en-US" sz="3600" dirty="0">
              <a:latin typeface="Avenir Medium" charset="0"/>
              <a:ea typeface="Avenir Medium" charset="0"/>
              <a:cs typeface="Avenir Medium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902055" y="114299"/>
            <a:ext cx="4034132" cy="2110285"/>
            <a:chOff x="8556171" y="114300"/>
            <a:chExt cx="3380015" cy="1706880"/>
          </a:xfrm>
        </p:grpSpPr>
        <p:sp>
          <p:nvSpPr>
            <p:cNvPr id="3" name="Rectangle 2"/>
            <p:cNvSpPr/>
            <p:nvPr/>
          </p:nvSpPr>
          <p:spPr>
            <a:xfrm>
              <a:off x="8556171" y="114300"/>
              <a:ext cx="3380015" cy="17068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9296729" y="331470"/>
              <a:ext cx="2481453" cy="12725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="" val="353209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903805" y="2627456"/>
            <a:ext cx="8363052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dirty="0" smtClean="0">
                <a:solidFill>
                  <a:srgbClr val="FFFFFF"/>
                </a:solidFill>
                <a:latin typeface="Avenir Medium" charset="0"/>
                <a:ea typeface="Avenir Medium" charset="0"/>
                <a:cs typeface="Avenir Medium" charset="0"/>
              </a:rPr>
              <a:t>KITA TELAH SAMPAI KE</a:t>
            </a:r>
          </a:p>
          <a:p>
            <a:r>
              <a:rPr lang="en-US" sz="4000" b="1" dirty="0" smtClean="0">
                <a:solidFill>
                  <a:srgbClr val="002060"/>
                </a:solidFill>
                <a:latin typeface="Avenir Black" charset="0"/>
                <a:ea typeface="Avenir Black" charset="0"/>
                <a:cs typeface="Avenir Black" charset="0"/>
              </a:rPr>
              <a:t>KERJA SAMA YANG BERBEDA</a:t>
            </a:r>
            <a:endParaRPr lang="en-US" sz="4000" b="1" dirty="0">
              <a:solidFill>
                <a:srgbClr val="002060"/>
              </a:solidFill>
              <a:latin typeface="Avenir Black" charset="0"/>
              <a:ea typeface="Avenir Black" charset="0"/>
              <a:cs typeface="Avenir Black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97180" y="320040"/>
            <a:ext cx="11612880" cy="6240780"/>
          </a:xfrm>
          <a:prstGeom prst="rect">
            <a:avLst/>
          </a:prstGeom>
          <a:noFill/>
          <a:ln w="762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" y="0"/>
            <a:ext cx="2260601" cy="6858000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6011934" y="1471933"/>
            <a:ext cx="1760560" cy="818865"/>
            <a:chOff x="8556171" y="114300"/>
            <a:chExt cx="3380015" cy="1706880"/>
          </a:xfrm>
        </p:grpSpPr>
        <p:sp>
          <p:nvSpPr>
            <p:cNvPr id="8" name="Rectangle 7"/>
            <p:cNvSpPr/>
            <p:nvPr/>
          </p:nvSpPr>
          <p:spPr>
            <a:xfrm>
              <a:off x="8556171" y="114300"/>
              <a:ext cx="3380015" cy="17068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9296729" y="331470"/>
              <a:ext cx="2481453" cy="12725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="" val="177785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9732558" cy="1158182"/>
          </a:xfrm>
        </p:spPr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9732558" cy="3801889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512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0637" y="-800099"/>
            <a:ext cx="11828463" cy="7324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6985000" y="2595563"/>
            <a:ext cx="2612393" cy="755939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2500"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3800" b="1" i="0" u="none" strike="noStrike" cap="none" normalizeH="0" baseline="0" dirty="0" err="1" smtClean="0">
                <a:ln>
                  <a:noFill/>
                </a:ln>
                <a:solidFill>
                  <a:srgbClr val="F6AD1B"/>
                </a:solidFill>
                <a:effectLst/>
                <a:latin typeface="Bira PERSONAL USE ONLY" charset="0"/>
                <a:cs typeface="Arial" pitchFamily="34" charset="0"/>
              </a:rPr>
              <a:t>Terlalu</a:t>
            </a:r>
            <a:r>
              <a:rPr kumimoji="0" lang="en-US" sz="3800" b="1" i="0" u="none" strike="noStrike" cap="none" normalizeH="0" baseline="0" dirty="0" smtClean="0">
                <a:ln>
                  <a:noFill/>
                </a:ln>
                <a:solidFill>
                  <a:srgbClr val="F6AD1B"/>
                </a:solidFill>
                <a:effectLst/>
                <a:latin typeface="Bira PERSONAL USE ONLY" charset="0"/>
                <a:cs typeface="Arial" pitchFamily="34" charset="0"/>
              </a:rPr>
              <a:t> </a:t>
            </a:r>
            <a:r>
              <a:rPr kumimoji="0" lang="en-US" sz="3800" b="1" i="0" u="none" strike="noStrike" cap="none" normalizeH="0" baseline="0" dirty="0" err="1" smtClean="0">
                <a:ln>
                  <a:noFill/>
                </a:ln>
                <a:solidFill>
                  <a:srgbClr val="F6AD1B"/>
                </a:solidFill>
                <a:effectLst/>
                <a:latin typeface="Bira PERSONAL USE ONLY" charset="0"/>
                <a:cs typeface="Arial" pitchFamily="34" charset="0"/>
              </a:rPr>
              <a:t>Tua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124" name="Rectangle 4"/>
          <p:cNvSpPr>
            <a:spLocks noChangeArrowheads="1"/>
          </p:cNvSpPr>
          <p:nvPr/>
        </p:nvSpPr>
        <p:spPr bwMode="auto">
          <a:xfrm>
            <a:off x="7045325" y="1808163"/>
            <a:ext cx="263884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venir Medium" charset="0"/>
                <a:cs typeface="Arial" pitchFamily="34" charset="0"/>
              </a:rPr>
              <a:t>ANDA TIDAK PERNAH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125" name="Rectangle 5"/>
          <p:cNvSpPr>
            <a:spLocks noChangeArrowheads="1"/>
          </p:cNvSpPr>
          <p:nvPr/>
        </p:nvSpPr>
        <p:spPr bwMode="auto">
          <a:xfrm>
            <a:off x="7094539" y="3562350"/>
            <a:ext cx="2588884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venir Medium" charset="0"/>
                <a:cs typeface="Arial" pitchFamily="34" charset="0"/>
              </a:rPr>
              <a:t>    UNTUK MENTARGET 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venir Medium" charset="0"/>
                <a:cs typeface="Arial" pitchFamily="34" charset="0"/>
              </a:rPr>
              <a:t>   TUJUAN BARU ATAU MEMBUAT IMPIAN BARU.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126" name="Rectangle 6"/>
          <p:cNvSpPr>
            <a:spLocks noChangeArrowheads="1"/>
          </p:cNvSpPr>
          <p:nvPr/>
        </p:nvSpPr>
        <p:spPr bwMode="auto">
          <a:xfrm>
            <a:off x="6519863" y="5513388"/>
            <a:ext cx="264030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venir Medium" charset="0"/>
                <a:cs typeface="Arial" pitchFamily="34" charset="0"/>
              </a:rPr>
              <a:t>-JS. LEWIS-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127" name="Rectangle 7"/>
          <p:cNvSpPr>
            <a:spLocks noChangeArrowheads="1"/>
          </p:cNvSpPr>
          <p:nvPr/>
        </p:nvSpPr>
        <p:spPr bwMode="auto">
          <a:xfrm>
            <a:off x="7407275" y="357188"/>
            <a:ext cx="4584176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3000" b="1" i="1" u="sng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orbel" pitchFamily="34" charset="0"/>
                <a:cs typeface="Arial" pitchFamily="34" charset="0"/>
              </a:rPr>
              <a:t> Program Unggulan</a:t>
            </a:r>
            <a:endParaRPr kumimoji="0" lang="en-AU" sz="3000" b="1" i="1" u="sng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Corbel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3000" b="1" i="1" u="sng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orbel" pitchFamily="34" charset="0"/>
                <a:cs typeface="Arial" pitchFamily="34" charset="0"/>
              </a:rPr>
              <a:t> Mantap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7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275013" y="4848225"/>
            <a:ext cx="1695450" cy="188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8" name="Rectangle 2"/>
          <p:cNvSpPr>
            <a:spLocks noChangeArrowheads="1"/>
          </p:cNvSpPr>
          <p:nvPr/>
        </p:nvSpPr>
        <p:spPr bwMode="auto">
          <a:xfrm>
            <a:off x="5529263" y="693738"/>
            <a:ext cx="3940175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20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Program Unggulan Mantap</a:t>
            </a:r>
            <a:r>
              <a:rPr kumimoji="0" lang="en-AU" sz="20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/>
            </a:r>
            <a:br>
              <a:rPr kumimoji="0" lang="en-AU" sz="20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</a:br>
            <a:r>
              <a:rPr kumimoji="0" lang="id-ID" sz="2000" b="1" i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1. Program LKO Taspen &amp; ASABRI</a:t>
            </a:r>
            <a:br>
              <a:rPr kumimoji="0" lang="id-ID" sz="2000" b="1" i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149" name="AutoShape 16" descr="Hasil gambar untuk logo asabri"/>
          <p:cNvSpPr>
            <a:spLocks noChangeAspect="1" noChangeArrowheads="1"/>
          </p:cNvSpPr>
          <p:nvPr/>
        </p:nvSpPr>
        <p:spPr bwMode="auto">
          <a:xfrm>
            <a:off x="120650" y="0"/>
            <a:ext cx="81915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150" name="AutoShape 18" descr="Hasil gambar untuk logo asabri"/>
          <p:cNvSpPr>
            <a:spLocks noChangeAspect="1" noChangeArrowheads="1"/>
          </p:cNvSpPr>
          <p:nvPr/>
        </p:nvSpPr>
        <p:spPr bwMode="auto">
          <a:xfrm>
            <a:off x="273050" y="152400"/>
            <a:ext cx="81915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151" name="AutoShape 20" descr="Hasil gambar untuk logo asabri"/>
          <p:cNvSpPr>
            <a:spLocks noChangeAspect="1" noChangeArrowheads="1"/>
          </p:cNvSpPr>
          <p:nvPr/>
        </p:nvSpPr>
        <p:spPr bwMode="auto">
          <a:xfrm>
            <a:off x="425450" y="304800"/>
            <a:ext cx="81915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6152" name="Picture 22" descr="https://2.bp.blogspot.com/-y7rruteor84/VyYAeRyByOI/AAAAAAAAXOw/EMTSTNWjjJwyP7WuJ0DlGqcvVudQDgEmACLcB/s1600/Logo%2BAsabri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168900" y="4970463"/>
            <a:ext cx="1857375" cy="173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53" name="Rectangle 6"/>
          <p:cNvSpPr>
            <a:spLocks noChangeArrowheads="1"/>
          </p:cNvSpPr>
          <p:nvPr/>
        </p:nvSpPr>
        <p:spPr bwMode="auto">
          <a:xfrm>
            <a:off x="2339975" y="2586038"/>
            <a:ext cx="4953000" cy="240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Pembayaran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manfaat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Tabungan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Hari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Tua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dan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Pensiun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kepada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Pejabat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id-ID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ASN/TNI/POLRI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yang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dilakukan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secara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proaktif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sehingga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peserta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dapat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langsung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menerima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manfaat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tanpa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harus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mengurus/datang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ke</a:t>
            </a:r>
            <a:r>
              <a:rPr kumimoji="0" lang="en-AU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 </a:t>
            </a:r>
            <a:r>
              <a:rPr kumimoji="0" lang="en-AU" sz="25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Taspen</a:t>
            </a:r>
            <a:r>
              <a:rPr kumimoji="0" lang="id-ID" sz="25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gency FB" pitchFamily="34" charset="0"/>
                <a:cs typeface="Arial" pitchFamily="34" charset="0"/>
              </a:rPr>
              <a:t>/ ASABRI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Down Ribbon 21"/>
          <p:cNvSpPr/>
          <p:nvPr/>
        </p:nvSpPr>
        <p:spPr>
          <a:xfrm>
            <a:off x="1557338" y="1584325"/>
            <a:ext cx="6538912" cy="871538"/>
          </a:xfrm>
          <a:prstGeom prst="ribbon">
            <a:avLst>
              <a:gd name="adj1" fmla="val 21518"/>
              <a:gd name="adj2" fmla="val 64359"/>
            </a:avLst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6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LAYANAN KLIM OTOMATIS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520666" y="1340826"/>
            <a:ext cx="8568714" cy="1075295"/>
          </a:xfrm>
          <a:prstGeom prst="rect">
            <a:avLst/>
          </a:prstGeom>
          <a:noFill/>
        </p:spPr>
        <p:txBody>
          <a:bodyPr lIns="74295" tIns="37148" rIns="74295" bIns="37148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d-ID" sz="3250" b="1" i="0" u="none" strike="noStrike" kern="1200" cap="none" spc="0" normalizeH="0" baseline="0" noProof="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uLnTx/>
                <a:uFillTx/>
                <a:latin typeface="Arial" pitchFamily="34" charset="0"/>
                <a:ea typeface="SimSun" pitchFamily="2" charset="-122"/>
                <a:cs typeface="+mn-cs"/>
              </a:rPr>
              <a:t>PROGRAM CUSTOMER GET CUSTOMER PENSIUN (CGC)</a:t>
            </a:r>
            <a:endParaRPr kumimoji="0" lang="en-US" sz="3250" b="1" i="0" u="none" strike="noStrike" kern="1200" cap="none" spc="0" normalizeH="0" baseline="0" noProof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3000" endA="300" endPos="35500" dir="5400000" sy="-90000" algn="bl" rotWithShape="0"/>
              </a:effectLst>
              <a:uLnTx/>
              <a:uFillTx/>
              <a:latin typeface="Arial" pitchFamily="34" charset="0"/>
              <a:ea typeface="SimSun" pitchFamily="2" charset="-122"/>
              <a:cs typeface="+mn-cs"/>
            </a:endParaRPr>
          </a:p>
        </p:txBody>
      </p:sp>
      <p:pic>
        <p:nvPicPr>
          <p:cNvPr id="7171" name="Picture 4"/>
          <p:cNvPicPr>
            <a:picLocks noChangeAspect="1"/>
          </p:cNvPicPr>
          <p:nvPr/>
        </p:nvPicPr>
        <p:blipFill>
          <a:blip r:embed="rId2"/>
          <a:srcRect l="12923" t="30568" r="11690" b="30470"/>
          <a:stretch>
            <a:fillRect/>
          </a:stretch>
        </p:blipFill>
        <p:spPr bwMode="auto">
          <a:xfrm>
            <a:off x="9056688" y="5788025"/>
            <a:ext cx="84931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2" name="Picture 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6075" y="2560638"/>
            <a:ext cx="4357688" cy="3265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9"/>
          <p:cNvSpPr/>
          <p:nvPr/>
        </p:nvSpPr>
        <p:spPr>
          <a:xfrm>
            <a:off x="4787900" y="3105150"/>
            <a:ext cx="4683125" cy="2844800"/>
          </a:xfrm>
          <a:prstGeom prst="rect">
            <a:avLst/>
          </a:prstGeom>
          <a:noFill/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2000" b="1" i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orbel" pitchFamily="34" charset="0"/>
                <a:cs typeface="Arial" pitchFamily="34" charset="0"/>
              </a:rPr>
              <a:t>Setiap Nasabah Bank Mantap yang mengajak pensiun lain untuk berkantor bayar di BANK MANTAP akan mendapatkan FEE</a:t>
            </a:r>
            <a:r>
              <a:rPr kumimoji="0" lang="id-ID" sz="2000" b="0" i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orbel" pitchFamily="34" charset="0"/>
                <a:cs typeface="Arial" pitchFamily="34" charset="0"/>
              </a:rPr>
              <a:t> </a:t>
            </a:r>
            <a:r>
              <a:rPr kumimoji="0" lang="en-AU" sz="2000" b="0" i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orbel" pitchFamily="34" charset="0"/>
                <a:cs typeface="Arial" pitchFamily="34" charset="0"/>
              </a:rPr>
              <a:t>&amp; </a:t>
            </a:r>
            <a:r>
              <a:rPr kumimoji="0" lang="id-ID" sz="2000" b="0" i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orbel" pitchFamily="34" charset="0"/>
                <a:cs typeface="Arial" pitchFamily="34" charset="0"/>
              </a:rPr>
              <a:t> jika pensiun yang diajak tersebut mengajukan kredit Pensiun maka mendapatkan </a:t>
            </a:r>
            <a:r>
              <a:rPr kumimoji="0" lang="id-ID" sz="2000" b="0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orbel" pitchFamily="34" charset="0"/>
                <a:cs typeface="Arial" pitchFamily="34" charset="0"/>
              </a:rPr>
              <a:t>FEE tambahan</a:t>
            </a:r>
            <a:endParaRPr kumimoji="0" lang="en-AU" sz="2000" b="0" i="1" u="sng" strike="noStrike" cap="none" normalizeH="0" baseline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orbel" pitchFamily="34" charset="0"/>
              <a:cs typeface="Arial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2000" b="0" i="1" u="sng" strike="noStrike" cap="none" normalizeH="0" baseline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orbel" pitchFamily="34" charset="0"/>
              <a:cs typeface="Arial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4000" b="1" i="0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orbel" pitchFamily="34" charset="0"/>
                <a:cs typeface="Arial" pitchFamily="34" charset="0"/>
              </a:rPr>
              <a:t>Rp. 250.000.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174" name="Rectangle 10"/>
          <p:cNvSpPr>
            <a:spLocks noChangeArrowheads="1"/>
          </p:cNvSpPr>
          <p:nvPr/>
        </p:nvSpPr>
        <p:spPr bwMode="auto">
          <a:xfrm>
            <a:off x="6105525" y="404813"/>
            <a:ext cx="3508375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20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 Program Unggulan Mantap</a:t>
            </a:r>
            <a:r>
              <a:rPr kumimoji="0" lang="en-AU" sz="20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/>
            </a:r>
            <a:br>
              <a:rPr kumimoji="0" lang="en-AU" sz="20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</a:br>
            <a:r>
              <a:rPr kumimoji="0" lang="id-ID" sz="2000" b="1" i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2. Program CGC</a:t>
            </a:r>
            <a:br>
              <a:rPr kumimoji="0" lang="id-ID" sz="2000" b="1" i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1395373" y="1389157"/>
            <a:ext cx="6810454" cy="1075295"/>
          </a:xfrm>
          <a:prstGeom prst="rect">
            <a:avLst/>
          </a:prstGeom>
          <a:noFill/>
        </p:spPr>
        <p:txBody>
          <a:bodyPr wrap="none" lIns="74295" tIns="37148" rIns="74295" bIns="37148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d-ID" sz="3250" b="1" i="0" u="none" strike="noStrike" kern="1200" cap="none" spc="0" normalizeH="0" baseline="0" noProof="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uLnTx/>
                <a:uFillTx/>
                <a:latin typeface="Arial" pitchFamily="34" charset="0"/>
                <a:ea typeface="SimSun" pitchFamily="2" charset="-122"/>
                <a:cs typeface="+mn-cs"/>
              </a:rPr>
              <a:t>PROGRAM WALK IN CUSTOMER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d-ID" sz="3250" b="1" i="0" u="none" strike="noStrike" kern="1200" cap="none" spc="0" normalizeH="0" baseline="0" noProof="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uLnTx/>
                <a:uFillTx/>
                <a:latin typeface="Arial" pitchFamily="34" charset="0"/>
                <a:ea typeface="SimSun" pitchFamily="2" charset="-122"/>
                <a:cs typeface="+mn-cs"/>
              </a:rPr>
              <a:t>PENSIUN (WIC)</a:t>
            </a:r>
            <a:endParaRPr kumimoji="0" lang="en-US" sz="3250" b="1" i="0" u="none" strike="noStrike" kern="1200" cap="none" spc="0" normalizeH="0" baseline="0" noProof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3000" endA="300" endPos="35500" dir="5400000" sy="-90000" algn="bl" rotWithShape="0"/>
              </a:effectLst>
              <a:uLnTx/>
              <a:uFillTx/>
              <a:latin typeface="Arial" pitchFamily="34" charset="0"/>
              <a:ea typeface="SimSun" pitchFamily="2" charset="-122"/>
              <a:cs typeface="+mn-cs"/>
            </a:endParaRPr>
          </a:p>
        </p:txBody>
      </p:sp>
      <p:pic>
        <p:nvPicPr>
          <p:cNvPr id="8195" name="Picture 4"/>
          <p:cNvPicPr>
            <a:picLocks noChangeAspect="1"/>
          </p:cNvPicPr>
          <p:nvPr/>
        </p:nvPicPr>
        <p:blipFill>
          <a:blip r:embed="rId2"/>
          <a:srcRect l="12923" t="30568" r="11690" b="30470"/>
          <a:stretch>
            <a:fillRect/>
          </a:stretch>
        </p:blipFill>
        <p:spPr bwMode="auto">
          <a:xfrm>
            <a:off x="9056688" y="5788025"/>
            <a:ext cx="849312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9"/>
          <p:cNvSpPr/>
          <p:nvPr/>
        </p:nvSpPr>
        <p:spPr>
          <a:xfrm>
            <a:off x="4787900" y="3254375"/>
            <a:ext cx="4683125" cy="2536825"/>
          </a:xfrm>
          <a:prstGeom prst="rect">
            <a:avLst/>
          </a:prstGeom>
          <a:noFill/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orbel" pitchFamily="34" charset="0"/>
                <a:cs typeface="Arial" pitchFamily="34" charset="0"/>
              </a:rPr>
              <a:t>Setiap Pra Pensiun (BUP) yang datang sendiri dan memilih kantor bayarnya di BANK MANTAP akan mendapatkan </a:t>
            </a:r>
            <a:r>
              <a:rPr kumimoji="0" lang="id-ID" sz="20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orbel" pitchFamily="34" charset="0"/>
                <a:cs typeface="Arial" pitchFamily="34" charset="0"/>
              </a:rPr>
              <a:t>HADIAH LANGSUNG BERUPA SETORAN AWAL DI TABUNGAN SIMANTAP PENSIUN</a:t>
            </a:r>
            <a:endParaRPr kumimoji="0" lang="en-AU" sz="2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orbel" pitchFamily="34" charset="0"/>
              <a:cs typeface="Arial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40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orbel" pitchFamily="34" charset="0"/>
                <a:cs typeface="Arial" pitchFamily="34" charset="0"/>
              </a:rPr>
              <a:t>RP. 200.000,-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197" name="Rectangle 14"/>
          <p:cNvSpPr>
            <a:spLocks noChangeArrowheads="1"/>
          </p:cNvSpPr>
          <p:nvPr/>
        </p:nvSpPr>
        <p:spPr bwMode="auto">
          <a:xfrm>
            <a:off x="6105525" y="404813"/>
            <a:ext cx="350837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20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Program Unggulan Mantap</a:t>
            </a:r>
            <a:r>
              <a:rPr kumimoji="0" lang="en-AU" sz="20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/>
            </a:r>
            <a:br>
              <a:rPr kumimoji="0" lang="en-AU" sz="20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</a:br>
            <a:r>
              <a:rPr kumimoji="0" lang="id-ID" sz="2000" b="1" i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3. Program WIC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8198" name="Picture 10" descr="E:\cover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23875" y="3254375"/>
            <a:ext cx="4049713" cy="2533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1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655050" y="5767388"/>
            <a:ext cx="1246188" cy="1084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723900" y="1371600"/>
            <a:ext cx="8308975" cy="3170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40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Undian Sepeda Motor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40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Undian </a:t>
            </a:r>
            <a:r>
              <a:rPr kumimoji="0" lang="id-ID" sz="40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Wisata Rohani</a:t>
            </a:r>
            <a:endParaRPr kumimoji="0" lang="en-US" sz="4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40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Hadiah langsung berupa p</a:t>
            </a:r>
            <a:r>
              <a:rPr kumimoji="0" lang="id-ID" sz="40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aket Sembako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4638" y="4541838"/>
            <a:ext cx="2384425" cy="2198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896100" y="4846638"/>
            <a:ext cx="1530350" cy="157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224213" y="4530725"/>
            <a:ext cx="2828925" cy="184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23" name="Rectangle 7"/>
          <p:cNvSpPr>
            <a:spLocks noChangeArrowheads="1"/>
          </p:cNvSpPr>
          <p:nvPr/>
        </p:nvSpPr>
        <p:spPr bwMode="auto">
          <a:xfrm>
            <a:off x="5667375" y="214313"/>
            <a:ext cx="49530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20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Program Unggulan Mantap</a:t>
            </a:r>
            <a:r>
              <a:rPr kumimoji="0" lang="en-AU" sz="20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/>
            </a:r>
            <a:br>
              <a:rPr kumimoji="0" lang="en-AU" sz="20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</a:br>
            <a:r>
              <a:rPr kumimoji="0" lang="en-AU" sz="20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4</a:t>
            </a:r>
            <a:r>
              <a:rPr kumimoji="0" lang="id-ID" sz="2000" b="1" i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. Program </a:t>
            </a:r>
            <a:r>
              <a:rPr kumimoji="0" lang="en-AU" sz="2000" b="1" i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Hadiah Mantap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11"/>
          <p:cNvSpPr>
            <a:spLocks noChangeArrowheads="1"/>
          </p:cNvSpPr>
          <p:nvPr/>
        </p:nvSpPr>
        <p:spPr bwMode="auto">
          <a:xfrm>
            <a:off x="91833" y="2962275"/>
            <a:ext cx="11928947" cy="1330325"/>
          </a:xfrm>
          <a:prstGeom prst="rect">
            <a:avLst/>
          </a:prstGeom>
          <a:blipFill dpi="0" rotWithShape="1">
            <a:blip r:embed="rId2"/>
            <a:srcRect/>
            <a:tile tx="0" ty="0" sx="100000" sy="100000" flip="none" algn="tl"/>
          </a:blipFill>
          <a:ln w="25400">
            <a:noFill/>
            <a:bevel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243" name="Rectangle 13"/>
          <p:cNvSpPr>
            <a:spLocks noChangeArrowheads="1"/>
          </p:cNvSpPr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none" algn="tl"/>
          </a:blipFill>
          <a:ln w="25400">
            <a:noFill/>
            <a:bevel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1"/>
          <p:cNvSpPr txBox="1"/>
          <p:nvPr/>
        </p:nvSpPr>
        <p:spPr>
          <a:xfrm>
            <a:off x="0" y="1628775"/>
            <a:ext cx="12192000" cy="5016758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3000"/>
              <a:buFont typeface="Arial" pitchFamily="34" charset="0"/>
              <a:buChar char="•"/>
              <a:tabLst/>
            </a:pPr>
            <a:r>
              <a:rPr kumimoji="0" lang="en-US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Pelayanan</a:t>
            </a:r>
            <a:r>
              <a:rPr kumimoji="0" lang="en-US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US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Kesehatan</a:t>
            </a:r>
            <a:r>
              <a:rPr kumimoji="0" lang="id-ID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AU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setiap</a:t>
            </a:r>
            <a:r>
              <a:rPr kumimoji="0" lang="en-AU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AU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tgl</a:t>
            </a:r>
            <a:r>
              <a:rPr kumimoji="0" lang="en-AU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 1 </a:t>
            </a:r>
            <a:r>
              <a:rPr kumimoji="0" lang="en-AU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sd</a:t>
            </a:r>
            <a:r>
              <a:rPr kumimoji="0" lang="en-AU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 10 </a:t>
            </a:r>
            <a:r>
              <a:rPr kumimoji="0" lang="en-AU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setiap</a:t>
            </a:r>
            <a:r>
              <a:rPr kumimoji="0" lang="en-AU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 2 </a:t>
            </a:r>
            <a:r>
              <a:rPr kumimoji="0" lang="en-AU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bulan</a:t>
            </a:r>
            <a:r>
              <a:rPr kumimoji="0" lang="en-AU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AU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sekali</a:t>
            </a:r>
            <a:r>
              <a:rPr kumimoji="0" lang="en-AU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AU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di</a:t>
            </a:r>
            <a:r>
              <a:rPr kumimoji="0" lang="en-AU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AU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kantor</a:t>
            </a:r>
            <a:r>
              <a:rPr kumimoji="0" lang="en-AU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 Bank </a:t>
            </a:r>
            <a:r>
              <a:rPr kumimoji="0" lang="en-AU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Mantap</a:t>
            </a:r>
            <a:endParaRPr kumimoji="0" lang="en-AU" sz="3000" b="1" i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orbel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3000"/>
              <a:buFont typeface="Arial" pitchFamily="34" charset="0"/>
              <a:buChar char="•"/>
              <a:tabLst/>
            </a:pPr>
            <a:r>
              <a:rPr kumimoji="0" lang="en-AU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P</a:t>
            </a:r>
            <a:r>
              <a:rPr kumimoji="0" lang="id-ID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emberdayaan pensiunan kerjasama dengan PWRI/ PEPABRI</a:t>
            </a:r>
            <a:endParaRPr kumimoji="0" lang="en-US" sz="3000" b="1" i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orbel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3000"/>
              <a:buFont typeface="Arial" pitchFamily="34" charset="0"/>
              <a:buChar char="•"/>
              <a:tabLst/>
            </a:pPr>
            <a:r>
              <a:rPr kumimoji="0" lang="en-AU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Program </a:t>
            </a:r>
            <a:r>
              <a:rPr kumimoji="0" lang="en-AU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Senam</a:t>
            </a:r>
            <a:r>
              <a:rPr kumimoji="0" lang="en-AU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AU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Sehat</a:t>
            </a:r>
            <a:r>
              <a:rPr kumimoji="0" lang="en-AU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 1x </a:t>
            </a:r>
            <a:r>
              <a:rPr kumimoji="0" lang="en-AU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dalam</a:t>
            </a:r>
            <a:r>
              <a:rPr kumimoji="0" lang="en-AU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AU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sebulan</a:t>
            </a:r>
            <a:endParaRPr kumimoji="0" lang="en-AU" sz="3000" b="1" i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orbel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3000"/>
              <a:buFont typeface="Arial" pitchFamily="34" charset="0"/>
              <a:buChar char="•"/>
              <a:tabLst/>
            </a:pPr>
            <a:r>
              <a:rPr kumimoji="0" lang="en-AU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Komunitas</a:t>
            </a:r>
            <a:r>
              <a:rPr kumimoji="0" lang="en-AU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AU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Mantap</a:t>
            </a:r>
            <a:endParaRPr kumimoji="0" lang="en-AU" sz="3000" b="1" i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orbel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3200"/>
              <a:buFont typeface="Arial" pitchFamily="34" charset="0"/>
              <a:buChar char="•"/>
              <a:tabLst/>
            </a:pPr>
            <a:r>
              <a:rPr kumimoji="0" lang="id-ID" sz="32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Gerakan WMM (Wirausaha Muda Mandiri)</a:t>
            </a:r>
            <a:r>
              <a:rPr kumimoji="0" lang="id-ID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-</a:t>
            </a:r>
            <a:r>
              <a:rPr kumimoji="0" lang="en-AU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konsep</a:t>
            </a:r>
            <a:r>
              <a:rPr kumimoji="0" lang="en-AU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AU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usaha</a:t>
            </a:r>
            <a:r>
              <a:rPr kumimoji="0" lang="en-AU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 ILK (</a:t>
            </a:r>
            <a:r>
              <a:rPr kumimoji="0" lang="en-AU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Ide</a:t>
            </a:r>
            <a:r>
              <a:rPr kumimoji="0" lang="en-AU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/ </a:t>
            </a:r>
            <a:r>
              <a:rPr kumimoji="0" lang="en-AU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Lokasi</a:t>
            </a:r>
            <a:r>
              <a:rPr kumimoji="0" lang="en-AU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/ </a:t>
            </a:r>
            <a:r>
              <a:rPr kumimoji="0" lang="en-AU" sz="3000" b="1" i="1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Kawal</a:t>
            </a:r>
            <a:r>
              <a:rPr kumimoji="0" lang="en-AU" sz="3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AU" sz="3000" b="1" i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orbel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d-ID" sz="3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Franklin Gothic Medium Cond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d-ID" sz="3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Franklin Gothic Medium Cond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245" name="Rectangle 15"/>
          <p:cNvSpPr>
            <a:spLocks noChangeArrowheads="1"/>
          </p:cNvSpPr>
          <p:nvPr/>
        </p:nvSpPr>
        <p:spPr bwMode="auto">
          <a:xfrm>
            <a:off x="6553578" y="263525"/>
            <a:ext cx="4308218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20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Program Unggulan Mantap</a:t>
            </a:r>
            <a:r>
              <a:rPr kumimoji="0" lang="en-AU" sz="20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/>
            </a:r>
            <a:br>
              <a:rPr kumimoji="0" lang="en-AU" sz="20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</a:br>
            <a:r>
              <a:rPr kumimoji="0" lang="en-AU" sz="20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5</a:t>
            </a:r>
            <a:r>
              <a:rPr kumimoji="0" lang="id-ID" sz="2000" b="1" i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. Program Pemberdayaan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 idx="4294967295"/>
          </p:nvPr>
        </p:nvSpPr>
        <p:spPr bwMode="auto">
          <a:xfrm>
            <a:off x="704850" y="274638"/>
            <a:ext cx="1075938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400" b="0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pic>
        <p:nvPicPr>
          <p:cNvPr id="11267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6200" y="-2138363"/>
            <a:ext cx="12115800" cy="106076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68" name="Rectangle 4"/>
          <p:cNvSpPr>
            <a:spLocks noChangeArrowheads="1"/>
          </p:cNvSpPr>
          <p:nvPr/>
        </p:nvSpPr>
        <p:spPr bwMode="auto">
          <a:xfrm>
            <a:off x="6910388" y="93663"/>
            <a:ext cx="5281982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4000" b="1" i="0" u="none" strike="noStrike" cap="none" normalizeH="0" baseline="0" dirty="0" err="1" smtClean="0">
                <a:ln>
                  <a:noFill/>
                </a:ln>
                <a:solidFill>
                  <a:srgbClr val="FFFFFF"/>
                </a:solidFill>
                <a:effectLst/>
                <a:latin typeface="Avenir Black" charset="0"/>
                <a:cs typeface="Arial" pitchFamily="34" charset="0"/>
              </a:rPr>
              <a:t>Menjadi</a:t>
            </a:r>
            <a:endParaRPr kumimoji="0" lang="en-US" sz="4000" b="1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venir Black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4000" b="1" i="0" u="none" strike="noStrike" cap="none" normalizeH="0" baseline="0" dirty="0" err="1" smtClean="0">
                <a:ln>
                  <a:noFill/>
                </a:ln>
                <a:solidFill>
                  <a:srgbClr val="FFFFFF"/>
                </a:solidFill>
                <a:effectLst/>
                <a:latin typeface="Avenir Black" charset="0"/>
                <a:cs typeface="Arial" pitchFamily="34" charset="0"/>
              </a:rPr>
              <a:t>Wirausahawan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4821" name="Rectangle 5"/>
          <p:cNvSpPr>
            <a:spLocks noChangeArrowheads="1"/>
          </p:cNvSpPr>
          <p:nvPr/>
        </p:nvSpPr>
        <p:spPr bwMode="auto">
          <a:xfrm>
            <a:off x="7591425" y="1417638"/>
            <a:ext cx="4019550" cy="4801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2F2F2"/>
              </a:buClr>
              <a:buSzPts val="1800"/>
              <a:buFont typeface="Corbel" pitchFamily="34" charset="0"/>
              <a:buChar char="•"/>
              <a:tabLst/>
            </a:pPr>
            <a:r>
              <a:rPr kumimoji="0" lang="id-ID" sz="1800" b="1" i="0" u="none" strike="noStrike" cap="none" normalizeH="0" baseline="0" dirty="0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Rencanakan masa pensiun 1-2 tahun sebelumnya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2F2F2"/>
              </a:buClr>
              <a:buSzPts val="1800"/>
              <a:buFont typeface="Corbel" pitchFamily="34" charset="0"/>
              <a:buChar char="•"/>
              <a:tabLst/>
            </a:pP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Mulai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dari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yg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sederhana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 &amp;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segera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lakukan</a:t>
            </a:r>
            <a:endParaRPr kumimoji="0" lang="en-US" sz="1800" b="1" i="0" u="none" strike="noStrike" cap="none" normalizeH="0" baseline="0" dirty="0" smtClean="0">
              <a:ln>
                <a:noFill/>
              </a:ln>
              <a:solidFill>
                <a:srgbClr val="F2F2F2"/>
              </a:solidFill>
              <a:effectLst/>
              <a:latin typeface="Corbel" pitchFamily="34" charset="0"/>
              <a:cs typeface="Arial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2F2F2"/>
              </a:buClr>
              <a:buSzPts val="1800"/>
              <a:buFont typeface="Corbel" pitchFamily="34" charset="0"/>
              <a:buChar char="•"/>
              <a:tabLst/>
            </a:pP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Segmen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spesifik</a:t>
            </a:r>
            <a:endParaRPr kumimoji="0" lang="en-US" sz="1800" b="1" i="0" u="none" strike="noStrike" cap="none" normalizeH="0" baseline="0" dirty="0" smtClean="0">
              <a:ln>
                <a:noFill/>
              </a:ln>
              <a:solidFill>
                <a:srgbClr val="F2F2F2"/>
              </a:solidFill>
              <a:effectLst/>
              <a:latin typeface="Corbel" pitchFamily="34" charset="0"/>
              <a:cs typeface="Arial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2F2F2"/>
              </a:buClr>
              <a:buSzPts val="1800"/>
              <a:buFont typeface="Corbel" pitchFamily="34" charset="0"/>
              <a:buChar char="•"/>
              <a:tabLst/>
            </a:pP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Libatkan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generasi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muda</a:t>
            </a:r>
            <a:endParaRPr kumimoji="0" lang="en-US" sz="1800" b="1" i="0" u="none" strike="noStrike" cap="none" normalizeH="0" baseline="0" dirty="0" smtClean="0">
              <a:ln>
                <a:noFill/>
              </a:ln>
              <a:solidFill>
                <a:srgbClr val="F2F2F2"/>
              </a:solidFill>
              <a:effectLst/>
              <a:latin typeface="Corbel" pitchFamily="34" charset="0"/>
              <a:cs typeface="Arial" pitchFamily="34" charset="0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2F2F2"/>
              </a:buClr>
              <a:buSzPts val="1800"/>
              <a:buFont typeface="Corbel" pitchFamily="34" charset="0"/>
              <a:buChar char="•"/>
              <a:tabLst/>
            </a:pPr>
            <a:r>
              <a:rPr kumimoji="0" lang="en-US" sz="1800" b="1" i="0" u="none" strike="noStrike" cap="none" normalizeH="0" baseline="0" dirty="0" err="1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Promosikan</a:t>
            </a:r>
            <a:endParaRPr kumimoji="0" lang="en-US" sz="1800" b="1" i="0" u="none" strike="noStrike" cap="none" normalizeH="0" baseline="0" dirty="0" smtClean="0">
              <a:ln>
                <a:noFill/>
              </a:ln>
              <a:solidFill>
                <a:srgbClr val="F2F2F2"/>
              </a:solidFill>
              <a:effectLst/>
              <a:latin typeface="Corbel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2F2F2"/>
              </a:buClr>
              <a:buSzPts val="1800"/>
              <a:buFont typeface="Gill Sans MT" pitchFamily="34" charset="0"/>
              <a:buChar char="•"/>
              <a:tabLst/>
            </a:pPr>
            <a:r>
              <a:rPr kumimoji="0" lang="id-ID" sz="1800" b="1" i="0" u="none" strike="noStrike" cap="none" normalizeH="0" baseline="0" dirty="0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Inventarisir modal yang dimiliki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F2F2F2"/>
              </a:buClr>
              <a:buSzPts val="1800"/>
              <a:buFont typeface="Arial" pitchFamily="34" charset="0"/>
              <a:buChar char="•"/>
            </a:pPr>
            <a:r>
              <a:rPr kumimoji="0" lang="id-ID" b="1" i="0" u="none" strike="noStrike" cap="none" normalizeH="0" baseline="0" dirty="0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Usia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F2F2F2"/>
              </a:buClr>
              <a:buSzPts val="1800"/>
              <a:buFont typeface="Arial" pitchFamily="34" charset="0"/>
              <a:buChar char="•"/>
            </a:pPr>
            <a:r>
              <a:rPr kumimoji="0" lang="en-AU" b="1" i="0" u="none" strike="noStrike" cap="none" normalizeH="0" baseline="0" dirty="0" err="1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Pengalaman</a:t>
            </a:r>
            <a:r>
              <a:rPr kumimoji="0" lang="en-AU" b="1" i="0" u="none" strike="noStrike" cap="none" normalizeH="0" baseline="0" dirty="0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id-ID" b="1" i="0" u="none" strike="noStrike" cap="none" normalizeH="0" baseline="0" dirty="0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kerja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F2F2F2"/>
              </a:buClr>
              <a:buSzPts val="1800"/>
              <a:buFont typeface="Arial" pitchFamily="34" charset="0"/>
              <a:buChar char="•"/>
            </a:pPr>
            <a:r>
              <a:rPr kumimoji="0" lang="id-ID" b="1" i="0" u="none" strike="noStrike" cap="none" normalizeH="0" baseline="0" dirty="0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Relasi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F2F2F2"/>
              </a:buClr>
              <a:buSzPts val="1800"/>
              <a:buFont typeface="Arial" pitchFamily="34" charset="0"/>
              <a:buChar char="•"/>
            </a:pPr>
            <a:r>
              <a:rPr kumimoji="0" lang="id-ID" b="1" i="0" u="none" strike="noStrike" cap="none" normalizeH="0" baseline="0" dirty="0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Jumlah keluarga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F2F2F2"/>
              </a:buClr>
              <a:buSzPts val="1800"/>
              <a:buFont typeface="Arial" pitchFamily="34" charset="0"/>
              <a:buChar char="•"/>
            </a:pPr>
            <a:r>
              <a:rPr kumimoji="0" lang="id-ID" b="1" i="0" u="none" strike="noStrike" cap="none" normalizeH="0" baseline="0" dirty="0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Potensi Ekonomi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F2F2F2"/>
              </a:buClr>
              <a:buSzPts val="1800"/>
              <a:buFont typeface="Arial" pitchFamily="34" charset="0"/>
              <a:buChar char="•"/>
            </a:pPr>
            <a:r>
              <a:rPr kumimoji="0" lang="id-ID" b="1" i="0" u="none" strike="noStrike" cap="none" normalizeH="0" baseline="0" dirty="0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Kegiatan yang digemari dalam beraktifitas</a:t>
            </a:r>
            <a:endParaRPr kumimoji="0" lang="en-US" b="1" i="0" u="none" strike="noStrike" cap="none" normalizeH="0" baseline="0" dirty="0" smtClean="0">
              <a:ln>
                <a:noFill/>
              </a:ln>
              <a:solidFill>
                <a:srgbClr val="F2F2F2"/>
              </a:solidFill>
              <a:effectLst/>
              <a:latin typeface="Corbel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2F2F2"/>
              </a:buClr>
              <a:buSzPts val="1800"/>
              <a:buFont typeface="Arial" pitchFamily="34" charset="0"/>
              <a:buChar char="•"/>
              <a:tabLst/>
            </a:pPr>
            <a:r>
              <a:rPr kumimoji="0" lang="id-ID" sz="1800" b="1" i="0" u="none" strike="noStrike" cap="none" normalizeH="0" baseline="0" dirty="0" smtClean="0">
                <a:ln>
                  <a:noFill/>
                </a:ln>
                <a:solidFill>
                  <a:srgbClr val="F2F2F2"/>
                </a:solidFill>
                <a:effectLst/>
                <a:latin typeface="Corbel" pitchFamily="34" charset="0"/>
                <a:cs typeface="Arial" pitchFamily="34" charset="0"/>
              </a:rPr>
              <a:t> Cek kesehatan secara rutin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54" name="Picture 1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95300" y="1095375"/>
            <a:ext cx="8915400" cy="528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2F4D71"/>
            </a:prstShdw>
          </a:effectLst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315913" y="304800"/>
            <a:ext cx="8172450" cy="623888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2800" b="1" i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Corbel" pitchFamily="34" charset="0"/>
                <a:cs typeface="Arial" pitchFamily="34" charset="0"/>
              </a:rPr>
              <a:t> USAHA WMM </a:t>
            </a:r>
            <a:r>
              <a:rPr kumimoji="0" lang="en-AU" sz="3000" b="1" i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Corbel" pitchFamily="34" charset="0"/>
                <a:cs typeface="Arial" pitchFamily="34" charset="0"/>
              </a:rPr>
              <a:t>konsep ILK 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5167313" y="-7938"/>
            <a:ext cx="4792662" cy="6858001"/>
          </a:xfrm>
          <a:prstGeom prst="rect">
            <a:avLst/>
          </a:prstGeom>
          <a:solidFill>
            <a:srgbClr val="1738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5132388" cy="3995738"/>
          </a:xfrm>
          <a:prstGeom prst="rect">
            <a:avLst/>
          </a:prstGeom>
          <a:solidFill>
            <a:srgbClr val="1738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2292" name="Picture 18"/>
          <p:cNvPicPr>
            <a:picLocks noChangeAspect="1"/>
          </p:cNvPicPr>
          <p:nvPr/>
        </p:nvPicPr>
        <p:blipFill>
          <a:blip r:embed="rId2"/>
          <a:srcRect l="-2" t="-2"/>
          <a:stretch>
            <a:fillRect/>
          </a:stretch>
        </p:blipFill>
        <p:spPr bwMode="auto">
          <a:xfrm>
            <a:off x="103187" y="3646488"/>
            <a:ext cx="5159376" cy="3211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293" name="Rectangle 4"/>
          <p:cNvSpPr>
            <a:spLocks noChangeArrowheads="1"/>
          </p:cNvSpPr>
          <p:nvPr/>
        </p:nvSpPr>
        <p:spPr bwMode="auto">
          <a:xfrm>
            <a:off x="866775" y="1852613"/>
            <a:ext cx="352266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 smtClean="0">
                <a:ln>
                  <a:noFill/>
                </a:ln>
                <a:solidFill>
                  <a:srgbClr val="F6AD1B"/>
                </a:solidFill>
                <a:effectLst/>
                <a:latin typeface="Avenir Black" charset="0"/>
                <a:cs typeface="Arial" pitchFamily="34" charset="0"/>
              </a:rPr>
              <a:t>Laundry Harum Cemerlang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294" name="Rectangle 5"/>
          <p:cNvSpPr>
            <a:spLocks noChangeArrowheads="1"/>
          </p:cNvSpPr>
          <p:nvPr/>
        </p:nvSpPr>
        <p:spPr bwMode="auto">
          <a:xfrm>
            <a:off x="442913" y="385763"/>
            <a:ext cx="34925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venir Roman" charset="0"/>
                <a:cs typeface="Arial" pitchFamily="34" charset="0"/>
              </a:rPr>
              <a:t>Bambang Agus Setiawan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919163" y="1811338"/>
            <a:ext cx="3151187" cy="0"/>
          </a:xfrm>
          <a:prstGeom prst="line">
            <a:avLst/>
          </a:prstGeom>
          <a:ln w="38100">
            <a:solidFill>
              <a:srgbClr val="F6AD1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96" name="Rectangle 8"/>
          <p:cNvSpPr>
            <a:spLocks noChangeArrowheads="1"/>
          </p:cNvSpPr>
          <p:nvPr/>
        </p:nvSpPr>
        <p:spPr bwMode="auto">
          <a:xfrm>
            <a:off x="442913" y="785813"/>
            <a:ext cx="327025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40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venir Black" charset="0"/>
                <a:cs typeface="Arial" pitchFamily="34" charset="0"/>
              </a:rPr>
              <a:t>58 tahun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5399088" y="3770313"/>
            <a:ext cx="4402137" cy="278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2000"/>
              <a:buFont typeface="Arial" pitchFamily="34" charset="0"/>
              <a:buChar char="•"/>
              <a:tabLst/>
            </a:pPr>
            <a:r>
              <a:rPr kumimoji="0" lang="en-ID" sz="2000" b="1" i="0" u="none" strike="noStrike" cap="none" normalizeH="0" baseline="0" smtClean="0">
                <a:ln>
                  <a:noFill/>
                </a:ln>
                <a:solidFill>
                  <a:srgbClr val="FFFFFF"/>
                </a:solidFill>
                <a:effectLst/>
                <a:latin typeface="Avenir Medium" charset="0"/>
                <a:cs typeface="Arial" pitchFamily="34" charset="0"/>
              </a:rPr>
              <a:t>Pensiunan : PNS, pensiun tahun 2016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ts val="2000"/>
              <a:buFont typeface="Arial" pitchFamily="34" charset="0"/>
              <a:buChar char="•"/>
              <a:tabLst/>
            </a:pPr>
            <a:r>
              <a:rPr kumimoji="0" lang="en-ID" sz="2000" b="1" i="0" u="none" strike="noStrike" cap="none" normalizeH="0" baseline="0" smtClean="0">
                <a:ln>
                  <a:noFill/>
                </a:ln>
                <a:solidFill>
                  <a:srgbClr val="FFFFFF"/>
                </a:solidFill>
                <a:effectLst/>
                <a:latin typeface="Avenir Medium" charset="0"/>
                <a:cs typeface="Arial" pitchFamily="34" charset="0"/>
              </a:rPr>
              <a:t>Jumlah P</a:t>
            </a:r>
            <a:r>
              <a:rPr kumimoji="0" lang="en-ID" sz="2000" b="0" i="0" u="none" strike="noStrike" cap="none" normalizeH="0" baseline="0" smtClean="0">
                <a:ln>
                  <a:noFill/>
                </a:ln>
                <a:solidFill>
                  <a:srgbClr val="FFFFFF"/>
                </a:solidFill>
                <a:effectLst/>
                <a:latin typeface="Avenir Medium" charset="0"/>
                <a:cs typeface="Arial" pitchFamily="34" charset="0"/>
              </a:rPr>
              <a:t>e</a:t>
            </a:r>
            <a:r>
              <a:rPr kumimoji="0" lang="en-ID" sz="2000" b="1" i="0" u="none" strike="noStrike" cap="none" normalizeH="0" baseline="0" smtClean="0">
                <a:ln>
                  <a:noFill/>
                </a:ln>
                <a:solidFill>
                  <a:srgbClr val="FFFFFF"/>
                </a:solidFill>
                <a:effectLst/>
                <a:latin typeface="Avenir Medium" charset="0"/>
                <a:cs typeface="Arial" pitchFamily="34" charset="0"/>
              </a:rPr>
              <a:t>gawai 4 Orang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  <a:buSzPts val="2000"/>
              <a:buFont typeface="Arial" pitchFamily="34" charset="0"/>
              <a:buChar char="•"/>
              <a:tabLst/>
            </a:pPr>
            <a:r>
              <a:rPr kumimoji="0" lang="en-US" sz="20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venir Roman" charset="0"/>
                <a:cs typeface="Arial" pitchFamily="34" charset="0"/>
              </a:rPr>
              <a:t>Impian : Buka 1 outlet lagi di tahun 2018</a:t>
            </a: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D" sz="2000" b="1" i="0" u="none" strike="noStrike" cap="none" normalizeH="0" baseline="0" smtClean="0">
              <a:ln>
                <a:noFill/>
              </a:ln>
              <a:solidFill>
                <a:srgbClr val="FFFFFF"/>
              </a:solidFill>
              <a:effectLst/>
              <a:latin typeface="Avenir Medium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33425" y="2354263"/>
            <a:ext cx="3246438" cy="7080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venir Roman" charset="0"/>
                <a:cs typeface="Arial" pitchFamily="34" charset="0"/>
              </a:rPr>
              <a:t>Serpong, Tangerang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2299" name="Group 15"/>
          <p:cNvGrpSpPr>
            <a:grpSpLocks/>
          </p:cNvGrpSpPr>
          <p:nvPr/>
        </p:nvGrpSpPr>
        <p:grpSpPr bwMode="auto">
          <a:xfrm>
            <a:off x="5300663" y="-7938"/>
            <a:ext cx="4749800" cy="3636963"/>
            <a:chOff x="6359476" y="-7926"/>
            <a:chExt cx="5846092" cy="3637721"/>
          </a:xfrm>
        </p:grpSpPr>
        <p:pic>
          <p:nvPicPr>
            <p:cNvPr id="12300" name="Picture 16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359476" y="-7926"/>
              <a:ext cx="4491563" cy="36377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Rectangle 12"/>
            <p:cNvSpPr/>
            <p:nvPr/>
          </p:nvSpPr>
          <p:spPr>
            <a:xfrm>
              <a:off x="10828062" y="-7926"/>
              <a:ext cx="1377506" cy="3637721"/>
            </a:xfrm>
            <a:prstGeom prst="rect">
              <a:avLst/>
            </a:prstGeom>
            <a:solidFill>
              <a:srgbClr val="A2A3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xmlns="" val="3932863666"/>
              </p:ext>
            </p:extLst>
          </p:nvPr>
        </p:nvGraphicFramePr>
        <p:xfrm>
          <a:off x="216645" y="1096184"/>
          <a:ext cx="11105779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6927287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9"/>
          <p:cNvSpPr txBox="1">
            <a:spLocks noChangeArrowheads="1"/>
          </p:cNvSpPr>
          <p:nvPr/>
        </p:nvSpPr>
        <p:spPr bwMode="auto">
          <a:xfrm>
            <a:off x="2041611" y="214274"/>
            <a:ext cx="6065001" cy="52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endParaRPr lang="en-US" sz="2600" b="0" kern="0" dirty="0">
              <a:solidFill>
                <a:schemeClr val="tx1">
                  <a:lumMod val="50000"/>
                  <a:lumOff val="50000"/>
                </a:schemeClr>
              </a:solidFill>
              <a:latin typeface="Arial"/>
              <a:ea typeface="ＭＳ Ｐゴシック"/>
              <a:cs typeface="ＭＳ Ｐゴシック"/>
            </a:endParaRPr>
          </a:p>
        </p:txBody>
      </p:sp>
      <p:sp>
        <p:nvSpPr>
          <p:cNvPr id="34" name="Kotak Teks 33"/>
          <p:cNvSpPr txBox="1"/>
          <p:nvPr/>
        </p:nvSpPr>
        <p:spPr>
          <a:xfrm>
            <a:off x="1938579" y="251941"/>
            <a:ext cx="37547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tx2">
                    <a:lumMod val="75000"/>
                  </a:schemeClr>
                </a:solidFill>
              </a:rPr>
              <a:t>PROGRAM PEDULI PENSIUN</a:t>
            </a:r>
          </a:p>
        </p:txBody>
      </p:sp>
      <p:pic>
        <p:nvPicPr>
          <p:cNvPr id="6" name="Picture 5" descr="WhatsApp Image 2016-10-25 at 12.42.54 PM.jpe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294055" y="2152479"/>
            <a:ext cx="3653377" cy="205502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1" name="Rectangle 10"/>
          <p:cNvSpPr/>
          <p:nvPr/>
        </p:nvSpPr>
        <p:spPr>
          <a:xfrm>
            <a:off x="982980" y="1637736"/>
            <a:ext cx="471034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48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Pelatihan</a:t>
            </a:r>
            <a:r>
              <a:rPr lang="en-US" sz="4800" b="1" dirty="0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  <a:r>
              <a:rPr lang="en-US" sz="48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Kewirausahaan</a:t>
            </a:r>
            <a:endParaRPr lang="en-US" sz="4800" b="1" dirty="0">
              <a:solidFill>
                <a:srgbClr val="F6AD1B"/>
              </a:solidFill>
              <a:latin typeface="Avenir Black" charset="0"/>
              <a:ea typeface="Avenir Black" charset="0"/>
              <a:cs typeface="Avenir Black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135380" y="1790136"/>
            <a:ext cx="4710345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48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Pelatihan</a:t>
            </a:r>
            <a:r>
              <a:rPr lang="en-US" sz="4800" b="1" dirty="0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  <a:r>
              <a:rPr lang="en-US" sz="48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Kewirausahaan</a:t>
            </a:r>
            <a:endParaRPr lang="en-US" sz="4800" b="1" dirty="0">
              <a:solidFill>
                <a:srgbClr val="F6AD1B"/>
              </a:solidFill>
              <a:latin typeface="Avenir Black" charset="0"/>
              <a:ea typeface="Avenir Black" charset="0"/>
              <a:cs typeface="Avenir Black" charset="0"/>
            </a:endParaRPr>
          </a:p>
        </p:txBody>
      </p:sp>
      <p:pic>
        <p:nvPicPr>
          <p:cNvPr id="2051" name="Picture 3" descr="D:\Mantap - Reputation Management\Foto untuk materi sos\IMG-20170320-WA000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577841" y="-46552"/>
            <a:ext cx="6614160" cy="3639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693325" y="3195232"/>
            <a:ext cx="6498675" cy="3662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-1" y="3821"/>
            <a:ext cx="6660107" cy="6854180"/>
          </a:xfrm>
          <a:custGeom>
            <a:avLst/>
            <a:gdLst>
              <a:gd name="connsiteX0" fmla="*/ 0 w 2583180"/>
              <a:gd name="connsiteY0" fmla="*/ 0 h 6854179"/>
              <a:gd name="connsiteX1" fmla="*/ 2583180 w 2583180"/>
              <a:gd name="connsiteY1" fmla="*/ 0 h 6854179"/>
              <a:gd name="connsiteX2" fmla="*/ 2583180 w 2583180"/>
              <a:gd name="connsiteY2" fmla="*/ 6854179 h 6854179"/>
              <a:gd name="connsiteX3" fmla="*/ 0 w 2583180"/>
              <a:gd name="connsiteY3" fmla="*/ 6854179 h 6854179"/>
              <a:gd name="connsiteX4" fmla="*/ 0 w 2583180"/>
              <a:gd name="connsiteY4" fmla="*/ 0 h 6854179"/>
              <a:gd name="connsiteX0" fmla="*/ 0 w 6629400"/>
              <a:gd name="connsiteY0" fmla="*/ 0 h 6945619"/>
              <a:gd name="connsiteX1" fmla="*/ 2583180 w 6629400"/>
              <a:gd name="connsiteY1" fmla="*/ 0 h 6945619"/>
              <a:gd name="connsiteX2" fmla="*/ 6629400 w 6629400"/>
              <a:gd name="connsiteY2" fmla="*/ 6945619 h 6945619"/>
              <a:gd name="connsiteX3" fmla="*/ 0 w 6629400"/>
              <a:gd name="connsiteY3" fmla="*/ 6854179 h 6945619"/>
              <a:gd name="connsiteX4" fmla="*/ 0 w 6629400"/>
              <a:gd name="connsiteY4" fmla="*/ 0 h 6945619"/>
              <a:gd name="connsiteX0" fmla="*/ 0 w 6629400"/>
              <a:gd name="connsiteY0" fmla="*/ 0 h 6945619"/>
              <a:gd name="connsiteX1" fmla="*/ 5920740 w 6629400"/>
              <a:gd name="connsiteY1" fmla="*/ 45720 h 6945619"/>
              <a:gd name="connsiteX2" fmla="*/ 6629400 w 6629400"/>
              <a:gd name="connsiteY2" fmla="*/ 6945619 h 6945619"/>
              <a:gd name="connsiteX3" fmla="*/ 0 w 6629400"/>
              <a:gd name="connsiteY3" fmla="*/ 6854179 h 6945619"/>
              <a:gd name="connsiteX4" fmla="*/ 0 w 6629400"/>
              <a:gd name="connsiteY4" fmla="*/ 0 h 6945619"/>
              <a:gd name="connsiteX0" fmla="*/ 0 w 6629400"/>
              <a:gd name="connsiteY0" fmla="*/ 0 h 6945619"/>
              <a:gd name="connsiteX1" fmla="*/ 5623560 w 6629400"/>
              <a:gd name="connsiteY1" fmla="*/ 0 h 6945619"/>
              <a:gd name="connsiteX2" fmla="*/ 6629400 w 6629400"/>
              <a:gd name="connsiteY2" fmla="*/ 6945619 h 6945619"/>
              <a:gd name="connsiteX3" fmla="*/ 0 w 6629400"/>
              <a:gd name="connsiteY3" fmla="*/ 6854179 h 6945619"/>
              <a:gd name="connsiteX4" fmla="*/ 0 w 6629400"/>
              <a:gd name="connsiteY4" fmla="*/ 0 h 6945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29400" h="6945619">
                <a:moveTo>
                  <a:pt x="0" y="0"/>
                </a:moveTo>
                <a:lnTo>
                  <a:pt x="5623560" y="0"/>
                </a:lnTo>
                <a:lnTo>
                  <a:pt x="6629400" y="6945619"/>
                </a:lnTo>
                <a:lnTo>
                  <a:pt x="0" y="6854179"/>
                </a:lnTo>
                <a:lnTo>
                  <a:pt x="0" y="0"/>
                </a:lnTo>
                <a:close/>
              </a:path>
            </a:pathLst>
          </a:custGeom>
          <a:solidFill>
            <a:srgbClr val="1738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30609" y="2481673"/>
            <a:ext cx="6253394" cy="24826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36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Pelatihan</a:t>
            </a:r>
            <a:r>
              <a:rPr lang="en-US" sz="3600" b="1" dirty="0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  <a:r>
              <a:rPr lang="en-US" sz="36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Kewirausahaan</a:t>
            </a:r>
            <a:r>
              <a:rPr lang="en-US" sz="3600" b="1" dirty="0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  <a:r>
              <a:rPr lang="en-US" sz="36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Untuk</a:t>
            </a:r>
            <a:r>
              <a:rPr lang="en-US" sz="3600" b="1" dirty="0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  <a:r>
              <a:rPr lang="en-US" sz="36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Pensiunan</a:t>
            </a:r>
            <a:r>
              <a:rPr lang="en-US" sz="3600" b="1" dirty="0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  <a:r>
              <a:rPr lang="en-US" sz="36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dan</a:t>
            </a:r>
            <a:r>
              <a:rPr lang="en-US" sz="3600" b="1" dirty="0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</a:p>
          <a:p>
            <a:pPr>
              <a:lnSpc>
                <a:spcPct val="150000"/>
              </a:lnSpc>
            </a:pPr>
            <a:r>
              <a:rPr lang="en-US" sz="36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Pra</a:t>
            </a:r>
            <a:r>
              <a:rPr lang="en-US" sz="3600" b="1" dirty="0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  <a:r>
              <a:rPr lang="en-US" sz="36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Pensiun</a:t>
            </a:r>
            <a:endParaRPr lang="en-US" sz="3600" b="1" dirty="0">
              <a:solidFill>
                <a:srgbClr val="F6AD1B"/>
              </a:solidFill>
              <a:latin typeface="Avenir Black" charset="0"/>
              <a:ea typeface="Avenir Black" charset="0"/>
              <a:cs typeface="Avenir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10117634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4928" t="10273" r="12289" b="27272"/>
          <a:stretch/>
        </p:blipFill>
        <p:spPr>
          <a:xfrm>
            <a:off x="5925790" y="3699164"/>
            <a:ext cx="6280543" cy="315883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t="30303" r="23401" b="8866"/>
          <a:stretch/>
        </p:blipFill>
        <p:spPr>
          <a:xfrm>
            <a:off x="5465618" y="-9304"/>
            <a:ext cx="6729832" cy="3562995"/>
          </a:xfrm>
          <a:prstGeom prst="rect">
            <a:avLst/>
          </a:prstGeom>
        </p:spPr>
      </p:pic>
      <p:sp>
        <p:nvSpPr>
          <p:cNvPr id="8" name="Rectangle 9"/>
          <p:cNvSpPr txBox="1">
            <a:spLocks noChangeArrowheads="1"/>
          </p:cNvSpPr>
          <p:nvPr/>
        </p:nvSpPr>
        <p:spPr bwMode="auto">
          <a:xfrm>
            <a:off x="2041611" y="252910"/>
            <a:ext cx="6065001" cy="52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endParaRPr lang="en-US" sz="2600" b="0" kern="0" dirty="0">
              <a:solidFill>
                <a:schemeClr val="tx1">
                  <a:lumMod val="50000"/>
                  <a:lumOff val="50000"/>
                </a:schemeClr>
              </a:solidFill>
              <a:latin typeface="Arial"/>
              <a:ea typeface="ＭＳ Ｐゴシック"/>
              <a:cs typeface="ＭＳ Ｐゴシック"/>
            </a:endParaRPr>
          </a:p>
        </p:txBody>
      </p:sp>
      <p:pic>
        <p:nvPicPr>
          <p:cNvPr id="5" name="Picture 4" descr="IMG_8680web.jp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568177" y="4410345"/>
            <a:ext cx="3582853" cy="192018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Rectangle 9"/>
          <p:cNvSpPr/>
          <p:nvPr/>
        </p:nvSpPr>
        <p:spPr>
          <a:xfrm>
            <a:off x="0" y="3820"/>
            <a:ext cx="6629400" cy="6945619"/>
          </a:xfrm>
          <a:custGeom>
            <a:avLst/>
            <a:gdLst>
              <a:gd name="connsiteX0" fmla="*/ 0 w 2583180"/>
              <a:gd name="connsiteY0" fmla="*/ 0 h 6854179"/>
              <a:gd name="connsiteX1" fmla="*/ 2583180 w 2583180"/>
              <a:gd name="connsiteY1" fmla="*/ 0 h 6854179"/>
              <a:gd name="connsiteX2" fmla="*/ 2583180 w 2583180"/>
              <a:gd name="connsiteY2" fmla="*/ 6854179 h 6854179"/>
              <a:gd name="connsiteX3" fmla="*/ 0 w 2583180"/>
              <a:gd name="connsiteY3" fmla="*/ 6854179 h 6854179"/>
              <a:gd name="connsiteX4" fmla="*/ 0 w 2583180"/>
              <a:gd name="connsiteY4" fmla="*/ 0 h 6854179"/>
              <a:gd name="connsiteX0" fmla="*/ 0 w 6629400"/>
              <a:gd name="connsiteY0" fmla="*/ 0 h 6945619"/>
              <a:gd name="connsiteX1" fmla="*/ 2583180 w 6629400"/>
              <a:gd name="connsiteY1" fmla="*/ 0 h 6945619"/>
              <a:gd name="connsiteX2" fmla="*/ 6629400 w 6629400"/>
              <a:gd name="connsiteY2" fmla="*/ 6945619 h 6945619"/>
              <a:gd name="connsiteX3" fmla="*/ 0 w 6629400"/>
              <a:gd name="connsiteY3" fmla="*/ 6854179 h 6945619"/>
              <a:gd name="connsiteX4" fmla="*/ 0 w 6629400"/>
              <a:gd name="connsiteY4" fmla="*/ 0 h 6945619"/>
              <a:gd name="connsiteX0" fmla="*/ 0 w 6629400"/>
              <a:gd name="connsiteY0" fmla="*/ 0 h 6945619"/>
              <a:gd name="connsiteX1" fmla="*/ 5920740 w 6629400"/>
              <a:gd name="connsiteY1" fmla="*/ 45720 h 6945619"/>
              <a:gd name="connsiteX2" fmla="*/ 6629400 w 6629400"/>
              <a:gd name="connsiteY2" fmla="*/ 6945619 h 6945619"/>
              <a:gd name="connsiteX3" fmla="*/ 0 w 6629400"/>
              <a:gd name="connsiteY3" fmla="*/ 6854179 h 6945619"/>
              <a:gd name="connsiteX4" fmla="*/ 0 w 6629400"/>
              <a:gd name="connsiteY4" fmla="*/ 0 h 6945619"/>
              <a:gd name="connsiteX0" fmla="*/ 0 w 6629400"/>
              <a:gd name="connsiteY0" fmla="*/ 0 h 6945619"/>
              <a:gd name="connsiteX1" fmla="*/ 5623560 w 6629400"/>
              <a:gd name="connsiteY1" fmla="*/ 0 h 6945619"/>
              <a:gd name="connsiteX2" fmla="*/ 6629400 w 6629400"/>
              <a:gd name="connsiteY2" fmla="*/ 6945619 h 6945619"/>
              <a:gd name="connsiteX3" fmla="*/ 0 w 6629400"/>
              <a:gd name="connsiteY3" fmla="*/ 6854179 h 6945619"/>
              <a:gd name="connsiteX4" fmla="*/ 0 w 6629400"/>
              <a:gd name="connsiteY4" fmla="*/ 0 h 6945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29400" h="6945619">
                <a:moveTo>
                  <a:pt x="0" y="0"/>
                </a:moveTo>
                <a:lnTo>
                  <a:pt x="5623560" y="0"/>
                </a:lnTo>
                <a:lnTo>
                  <a:pt x="6629400" y="6945619"/>
                </a:lnTo>
                <a:lnTo>
                  <a:pt x="0" y="6854179"/>
                </a:lnTo>
                <a:lnTo>
                  <a:pt x="0" y="0"/>
                </a:lnTo>
                <a:close/>
              </a:path>
            </a:pathLst>
          </a:custGeom>
          <a:solidFill>
            <a:srgbClr val="1738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532653" y="2174715"/>
            <a:ext cx="5320657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48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Pelayanan</a:t>
            </a:r>
            <a:r>
              <a:rPr lang="en-US" sz="4800" b="1" dirty="0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  <a:r>
              <a:rPr lang="en-US" sz="48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Kesehatan</a:t>
            </a:r>
            <a:r>
              <a:rPr lang="en-US" sz="4800" b="1" dirty="0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 Gratis </a:t>
            </a:r>
            <a:r>
              <a:rPr lang="en-US" sz="48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untuk</a:t>
            </a:r>
            <a:r>
              <a:rPr lang="en-US" sz="4800" b="1" dirty="0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  <a:r>
              <a:rPr lang="en-US" sz="48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Pensiunan</a:t>
            </a:r>
            <a:r>
              <a:rPr lang="en-US" sz="4800" b="1" dirty="0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  <a:endParaRPr lang="en-US" sz="4800" b="1" dirty="0">
              <a:solidFill>
                <a:srgbClr val="F6AD1B"/>
              </a:solidFill>
              <a:latin typeface="Avenir Black" charset="0"/>
              <a:ea typeface="Avenir Black" charset="0"/>
              <a:cs typeface="Avenir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494467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-1176"/>
          <a:stretch/>
        </p:blipFill>
        <p:spPr>
          <a:xfrm>
            <a:off x="5049982" y="3820"/>
            <a:ext cx="7148945" cy="322166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-94"/>
          <a:stretch/>
        </p:blipFill>
        <p:spPr>
          <a:xfrm>
            <a:off x="5611091" y="3316925"/>
            <a:ext cx="6587836" cy="3541076"/>
          </a:xfrm>
          <a:prstGeom prst="rect">
            <a:avLst/>
          </a:prstGeom>
        </p:spPr>
      </p:pic>
      <p:sp>
        <p:nvSpPr>
          <p:cNvPr id="4" name="Rectangle 9"/>
          <p:cNvSpPr/>
          <p:nvPr/>
        </p:nvSpPr>
        <p:spPr>
          <a:xfrm>
            <a:off x="0" y="3820"/>
            <a:ext cx="6080760" cy="6945619"/>
          </a:xfrm>
          <a:custGeom>
            <a:avLst/>
            <a:gdLst>
              <a:gd name="connsiteX0" fmla="*/ 0 w 2583180"/>
              <a:gd name="connsiteY0" fmla="*/ 0 h 6854179"/>
              <a:gd name="connsiteX1" fmla="*/ 2583180 w 2583180"/>
              <a:gd name="connsiteY1" fmla="*/ 0 h 6854179"/>
              <a:gd name="connsiteX2" fmla="*/ 2583180 w 2583180"/>
              <a:gd name="connsiteY2" fmla="*/ 6854179 h 6854179"/>
              <a:gd name="connsiteX3" fmla="*/ 0 w 2583180"/>
              <a:gd name="connsiteY3" fmla="*/ 6854179 h 6854179"/>
              <a:gd name="connsiteX4" fmla="*/ 0 w 2583180"/>
              <a:gd name="connsiteY4" fmla="*/ 0 h 6854179"/>
              <a:gd name="connsiteX0" fmla="*/ 0 w 6629400"/>
              <a:gd name="connsiteY0" fmla="*/ 0 h 6945619"/>
              <a:gd name="connsiteX1" fmla="*/ 2583180 w 6629400"/>
              <a:gd name="connsiteY1" fmla="*/ 0 h 6945619"/>
              <a:gd name="connsiteX2" fmla="*/ 6629400 w 6629400"/>
              <a:gd name="connsiteY2" fmla="*/ 6945619 h 6945619"/>
              <a:gd name="connsiteX3" fmla="*/ 0 w 6629400"/>
              <a:gd name="connsiteY3" fmla="*/ 6854179 h 6945619"/>
              <a:gd name="connsiteX4" fmla="*/ 0 w 6629400"/>
              <a:gd name="connsiteY4" fmla="*/ 0 h 6945619"/>
              <a:gd name="connsiteX0" fmla="*/ 0 w 6629400"/>
              <a:gd name="connsiteY0" fmla="*/ 0 h 6945619"/>
              <a:gd name="connsiteX1" fmla="*/ 5920740 w 6629400"/>
              <a:gd name="connsiteY1" fmla="*/ 45720 h 6945619"/>
              <a:gd name="connsiteX2" fmla="*/ 6629400 w 6629400"/>
              <a:gd name="connsiteY2" fmla="*/ 6945619 h 6945619"/>
              <a:gd name="connsiteX3" fmla="*/ 0 w 6629400"/>
              <a:gd name="connsiteY3" fmla="*/ 6854179 h 6945619"/>
              <a:gd name="connsiteX4" fmla="*/ 0 w 6629400"/>
              <a:gd name="connsiteY4" fmla="*/ 0 h 6945619"/>
              <a:gd name="connsiteX0" fmla="*/ 0 w 6629400"/>
              <a:gd name="connsiteY0" fmla="*/ 0 h 6945619"/>
              <a:gd name="connsiteX1" fmla="*/ 5623560 w 6629400"/>
              <a:gd name="connsiteY1" fmla="*/ 0 h 6945619"/>
              <a:gd name="connsiteX2" fmla="*/ 6629400 w 6629400"/>
              <a:gd name="connsiteY2" fmla="*/ 6945619 h 6945619"/>
              <a:gd name="connsiteX3" fmla="*/ 0 w 6629400"/>
              <a:gd name="connsiteY3" fmla="*/ 6854179 h 6945619"/>
              <a:gd name="connsiteX4" fmla="*/ 0 w 6629400"/>
              <a:gd name="connsiteY4" fmla="*/ 0 h 6945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29400" h="6945619">
                <a:moveTo>
                  <a:pt x="0" y="0"/>
                </a:moveTo>
                <a:lnTo>
                  <a:pt x="5623560" y="0"/>
                </a:lnTo>
                <a:lnTo>
                  <a:pt x="6629400" y="6945619"/>
                </a:lnTo>
                <a:lnTo>
                  <a:pt x="0" y="6854179"/>
                </a:lnTo>
                <a:lnTo>
                  <a:pt x="0" y="0"/>
                </a:lnTo>
                <a:close/>
              </a:path>
            </a:pathLst>
          </a:custGeom>
          <a:solidFill>
            <a:srgbClr val="1738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143984" y="3125342"/>
            <a:ext cx="5936776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ID" sz="36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Praktek</a:t>
            </a:r>
            <a:r>
              <a:rPr lang="en-ID" sz="3600" b="1" dirty="0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  <a:r>
              <a:rPr lang="en-ID" sz="36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Kerja</a:t>
            </a:r>
            <a:r>
              <a:rPr lang="en-ID" sz="3600" b="1" dirty="0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  <a:r>
              <a:rPr lang="en-ID" sz="36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Lapangan</a:t>
            </a:r>
            <a:r>
              <a:rPr lang="en-ID" sz="3600" b="1" dirty="0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  <a:r>
              <a:rPr lang="en-ID" sz="36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dan</a:t>
            </a:r>
            <a:r>
              <a:rPr lang="en-ID" sz="3600" b="1" dirty="0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  <a:r>
              <a:rPr lang="en-ID" sz="36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Penelitian</a:t>
            </a:r>
            <a:r>
              <a:rPr lang="en-ID" sz="3600" b="1" dirty="0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  <a:r>
              <a:rPr lang="en-ID" sz="36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Bagi</a:t>
            </a:r>
            <a:r>
              <a:rPr lang="en-ID" sz="3600" b="1" dirty="0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  <a:r>
              <a:rPr lang="en-ID" sz="36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Mahasiswa</a:t>
            </a:r>
            <a:endParaRPr lang="en-US" sz="3600" b="1" dirty="0" smtClean="0">
              <a:solidFill>
                <a:srgbClr val="F6AD1B"/>
              </a:solidFill>
              <a:latin typeface="Avenir Black" charset="0"/>
              <a:ea typeface="Avenir Black" charset="0"/>
              <a:cs typeface="Avenir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30516161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9"/>
          <p:cNvSpPr txBox="1">
            <a:spLocks noChangeArrowheads="1"/>
          </p:cNvSpPr>
          <p:nvPr/>
        </p:nvSpPr>
        <p:spPr bwMode="auto">
          <a:xfrm>
            <a:off x="2041611" y="252910"/>
            <a:ext cx="6065001" cy="52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endParaRPr lang="en-US" sz="2600" b="0" kern="0" dirty="0">
              <a:solidFill>
                <a:schemeClr val="tx1">
                  <a:lumMod val="50000"/>
                  <a:lumOff val="50000"/>
                </a:schemeClr>
              </a:solidFill>
              <a:latin typeface="Arial"/>
              <a:ea typeface="ＭＳ Ｐゴシック"/>
              <a:cs typeface="ＭＳ Ｐゴシック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-581"/>
          <a:stretch/>
        </p:blipFill>
        <p:spPr bwMode="auto">
          <a:xfrm>
            <a:off x="5642804" y="-22861"/>
            <a:ext cx="6587295" cy="325977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46239" y="3328358"/>
            <a:ext cx="6245761" cy="352964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10" name="TextBox 9"/>
          <p:cNvSpPr txBox="1"/>
          <p:nvPr/>
        </p:nvSpPr>
        <p:spPr>
          <a:xfrm>
            <a:off x="3393737" y="2684801"/>
            <a:ext cx="24080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>
                <a:latin typeface="Myriad Pro" pitchFamily="34" charset="0"/>
              </a:rPr>
              <a:t>Senam</a:t>
            </a:r>
            <a:r>
              <a:rPr lang="en-US" b="1" dirty="0">
                <a:latin typeface="Myriad Pro" pitchFamily="34" charset="0"/>
              </a:rPr>
              <a:t> </a:t>
            </a:r>
            <a:r>
              <a:rPr lang="en-US" b="1" dirty="0" err="1">
                <a:latin typeface="Myriad Pro" pitchFamily="34" charset="0"/>
              </a:rPr>
              <a:t>Jantung</a:t>
            </a:r>
            <a:r>
              <a:rPr lang="en-US" b="1" dirty="0">
                <a:latin typeface="Myriad Pro" pitchFamily="34" charset="0"/>
              </a:rPr>
              <a:t> </a:t>
            </a:r>
            <a:r>
              <a:rPr lang="en-US" b="1" dirty="0" err="1">
                <a:latin typeface="Myriad Pro" pitchFamily="34" charset="0"/>
              </a:rPr>
              <a:t>Sehat</a:t>
            </a:r>
            <a:endParaRPr lang="en-US" b="1" dirty="0">
              <a:latin typeface="Myriad Pro" pitchFamily="34" charset="0"/>
            </a:endParaRPr>
          </a:p>
        </p:txBody>
      </p:sp>
      <p:sp>
        <p:nvSpPr>
          <p:cNvPr id="12" name="Kotak Teks 33"/>
          <p:cNvSpPr txBox="1"/>
          <p:nvPr/>
        </p:nvSpPr>
        <p:spPr>
          <a:xfrm>
            <a:off x="1938579" y="251941"/>
            <a:ext cx="375474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tx2">
                    <a:lumMod val="75000"/>
                  </a:schemeClr>
                </a:solidFill>
              </a:rPr>
              <a:t>PROGRAM PEDULI PENSIUN</a:t>
            </a:r>
          </a:p>
        </p:txBody>
      </p:sp>
      <p:sp>
        <p:nvSpPr>
          <p:cNvPr id="13" name="Rectangle 9"/>
          <p:cNvSpPr/>
          <p:nvPr/>
        </p:nvSpPr>
        <p:spPr>
          <a:xfrm>
            <a:off x="0" y="3820"/>
            <a:ext cx="6629400" cy="6945619"/>
          </a:xfrm>
          <a:custGeom>
            <a:avLst/>
            <a:gdLst>
              <a:gd name="connsiteX0" fmla="*/ 0 w 2583180"/>
              <a:gd name="connsiteY0" fmla="*/ 0 h 6854179"/>
              <a:gd name="connsiteX1" fmla="*/ 2583180 w 2583180"/>
              <a:gd name="connsiteY1" fmla="*/ 0 h 6854179"/>
              <a:gd name="connsiteX2" fmla="*/ 2583180 w 2583180"/>
              <a:gd name="connsiteY2" fmla="*/ 6854179 h 6854179"/>
              <a:gd name="connsiteX3" fmla="*/ 0 w 2583180"/>
              <a:gd name="connsiteY3" fmla="*/ 6854179 h 6854179"/>
              <a:gd name="connsiteX4" fmla="*/ 0 w 2583180"/>
              <a:gd name="connsiteY4" fmla="*/ 0 h 6854179"/>
              <a:gd name="connsiteX0" fmla="*/ 0 w 6629400"/>
              <a:gd name="connsiteY0" fmla="*/ 0 h 6945619"/>
              <a:gd name="connsiteX1" fmla="*/ 2583180 w 6629400"/>
              <a:gd name="connsiteY1" fmla="*/ 0 h 6945619"/>
              <a:gd name="connsiteX2" fmla="*/ 6629400 w 6629400"/>
              <a:gd name="connsiteY2" fmla="*/ 6945619 h 6945619"/>
              <a:gd name="connsiteX3" fmla="*/ 0 w 6629400"/>
              <a:gd name="connsiteY3" fmla="*/ 6854179 h 6945619"/>
              <a:gd name="connsiteX4" fmla="*/ 0 w 6629400"/>
              <a:gd name="connsiteY4" fmla="*/ 0 h 6945619"/>
              <a:gd name="connsiteX0" fmla="*/ 0 w 6629400"/>
              <a:gd name="connsiteY0" fmla="*/ 0 h 6945619"/>
              <a:gd name="connsiteX1" fmla="*/ 5920740 w 6629400"/>
              <a:gd name="connsiteY1" fmla="*/ 45720 h 6945619"/>
              <a:gd name="connsiteX2" fmla="*/ 6629400 w 6629400"/>
              <a:gd name="connsiteY2" fmla="*/ 6945619 h 6945619"/>
              <a:gd name="connsiteX3" fmla="*/ 0 w 6629400"/>
              <a:gd name="connsiteY3" fmla="*/ 6854179 h 6945619"/>
              <a:gd name="connsiteX4" fmla="*/ 0 w 6629400"/>
              <a:gd name="connsiteY4" fmla="*/ 0 h 6945619"/>
              <a:gd name="connsiteX0" fmla="*/ 0 w 6629400"/>
              <a:gd name="connsiteY0" fmla="*/ 0 h 6945619"/>
              <a:gd name="connsiteX1" fmla="*/ 5623560 w 6629400"/>
              <a:gd name="connsiteY1" fmla="*/ 0 h 6945619"/>
              <a:gd name="connsiteX2" fmla="*/ 6629400 w 6629400"/>
              <a:gd name="connsiteY2" fmla="*/ 6945619 h 6945619"/>
              <a:gd name="connsiteX3" fmla="*/ 0 w 6629400"/>
              <a:gd name="connsiteY3" fmla="*/ 6854179 h 6945619"/>
              <a:gd name="connsiteX4" fmla="*/ 0 w 6629400"/>
              <a:gd name="connsiteY4" fmla="*/ 0 h 6945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29400" h="6945619">
                <a:moveTo>
                  <a:pt x="0" y="0"/>
                </a:moveTo>
                <a:lnTo>
                  <a:pt x="5623560" y="0"/>
                </a:lnTo>
                <a:lnTo>
                  <a:pt x="6629400" y="6945619"/>
                </a:lnTo>
                <a:lnTo>
                  <a:pt x="0" y="6854179"/>
                </a:lnTo>
                <a:lnTo>
                  <a:pt x="0" y="0"/>
                </a:lnTo>
                <a:close/>
              </a:path>
            </a:pathLst>
          </a:custGeom>
          <a:solidFill>
            <a:srgbClr val="1738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1573965" y="1637736"/>
            <a:ext cx="3481469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4800" b="1" dirty="0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Program </a:t>
            </a:r>
            <a:r>
              <a:rPr lang="en-US" sz="48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Peduli</a:t>
            </a:r>
            <a:r>
              <a:rPr lang="en-US" sz="4800" b="1" dirty="0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  <a:r>
              <a:rPr lang="en-US" sz="4800" b="1" dirty="0" err="1" smtClean="0">
                <a:solidFill>
                  <a:srgbClr val="F6AD1B"/>
                </a:solidFill>
                <a:latin typeface="Avenir Black" charset="0"/>
                <a:ea typeface="Avenir Black" charset="0"/>
                <a:cs typeface="Avenir Black" charset="0"/>
              </a:rPr>
              <a:t>Pensiun</a:t>
            </a:r>
            <a:endParaRPr lang="en-US" sz="4800" b="1" dirty="0">
              <a:solidFill>
                <a:srgbClr val="F6AD1B"/>
              </a:solidFill>
              <a:latin typeface="Avenir Black" charset="0"/>
              <a:ea typeface="Avenir Black" charset="0"/>
              <a:cs typeface="Avenir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14454431"/>
      </p:ext>
    </p:extLst>
  </p:cSld>
  <p:clrMapOvr>
    <a:masterClrMapping/>
  </p:clrMapOvr>
  <p:transition>
    <p:comb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652978" y="5767915"/>
            <a:ext cx="1532743" cy="1083736"/>
          </a:xfrm>
          <a:prstGeom prst="rect">
            <a:avLst/>
          </a:prstGeom>
        </p:spPr>
      </p:pic>
      <p:grpSp>
        <p:nvGrpSpPr>
          <p:cNvPr id="8" name="Group 7"/>
          <p:cNvGrpSpPr/>
          <p:nvPr/>
        </p:nvGrpSpPr>
        <p:grpSpPr>
          <a:xfrm>
            <a:off x="924802" y="2452616"/>
            <a:ext cx="9882898" cy="1810461"/>
            <a:chOff x="1282775" y="2966311"/>
            <a:chExt cx="8488196" cy="1106321"/>
          </a:xfrm>
          <a:solidFill>
            <a:srgbClr val="002060"/>
          </a:solidFill>
        </p:grpSpPr>
        <p:sp>
          <p:nvSpPr>
            <p:cNvPr id="10" name="Pentagon 9"/>
            <p:cNvSpPr/>
            <p:nvPr/>
          </p:nvSpPr>
          <p:spPr>
            <a:xfrm rot="10800000">
              <a:off x="1282775" y="2966311"/>
              <a:ext cx="8488196" cy="1106321"/>
            </a:xfrm>
            <a:prstGeom prst="homePlate">
              <a:avLst/>
            </a:prstGeom>
            <a:grpFill/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</p:sp>
        <p:sp>
          <p:nvSpPr>
            <p:cNvPr id="12" name="Pentagon 4"/>
            <p:cNvSpPr txBox="1"/>
            <p:nvPr/>
          </p:nvSpPr>
          <p:spPr>
            <a:xfrm rot="21600000">
              <a:off x="1559355" y="2966311"/>
              <a:ext cx="8211616" cy="110632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7857" tIns="152400" rIns="284480" bIns="152400" numCol="1" spcCol="1270" anchor="ctr" anchorCtr="0">
              <a:noAutofit/>
            </a:bodyPr>
            <a:lstStyle/>
            <a:p>
              <a:pPr lvl="0" algn="ctr" defTabSz="1955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4800" kern="1200" dirty="0" smtClean="0"/>
                <a:t>          </a:t>
              </a:r>
              <a:r>
                <a:rPr lang="en-US" sz="7200" b="1" dirty="0" smtClean="0"/>
                <a:t>7 P</a:t>
              </a:r>
              <a:r>
                <a:rPr lang="id-ID" sz="7200" b="1" dirty="0" smtClean="0"/>
                <a:t>roduk </a:t>
              </a:r>
              <a:r>
                <a:rPr lang="id-ID" sz="7200" b="1" dirty="0"/>
                <a:t>Unggulan</a:t>
              </a:r>
              <a:endParaRPr lang="en-US" sz="7200" b="1" dirty="0"/>
            </a:p>
          </p:txBody>
        </p:sp>
      </p:grpSp>
      <p:sp>
        <p:nvSpPr>
          <p:cNvPr id="11" name="Oval 10"/>
          <p:cNvSpPr/>
          <p:nvPr/>
        </p:nvSpPr>
        <p:spPr>
          <a:xfrm>
            <a:off x="288852" y="2338314"/>
            <a:ext cx="2492448" cy="2024435"/>
          </a:xfrm>
          <a:prstGeom prst="ellipse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 t="-15000" b="-15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tint val="50000"/>
              <a:hueOff val="-3694485"/>
              <a:satOff val="-6499"/>
              <a:lumOff val="-836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xmlns="" val="41233244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14:ripple dir="ru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5"/>
          <p:cNvSpPr>
            <a:spLocks noChangeArrowheads="1"/>
          </p:cNvSpPr>
          <p:nvPr/>
        </p:nvSpPr>
        <p:spPr bwMode="auto">
          <a:xfrm>
            <a:off x="0" y="58738"/>
            <a:ext cx="2214563" cy="649287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9"/>
          <p:cNvSpPr txBox="1">
            <a:spLocks noChangeArrowheads="1"/>
          </p:cNvSpPr>
          <p:nvPr/>
        </p:nvSpPr>
        <p:spPr bwMode="auto">
          <a:xfrm>
            <a:off x="458788" y="203200"/>
            <a:ext cx="7208837" cy="954088"/>
          </a:xfrm>
          <a:prstGeom prst="rect">
            <a:avLst/>
          </a:prstGeom>
          <a:noFill/>
          <a:ln>
            <a:noFill/>
          </a:ln>
          <a:extLs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2500" b="0" i="1" u="sng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P</a:t>
            </a:r>
            <a:r>
              <a:rPr kumimoji="0" lang="id-ID" sz="2500" b="0" i="1" u="sng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roduk Unggulan Mantap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1. </a:t>
            </a:r>
            <a:r>
              <a:rPr kumimoji="0" lang="id-ID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Kredit  Pegawai Aktif</a:t>
            </a:r>
            <a:r>
              <a:rPr kumimoji="0" lang="en-AU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/>
            </a:r>
            <a:br>
              <a:rPr kumimoji="0" lang="en-AU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</a:br>
            <a:endParaRPr kumimoji="0" lang="id-ID" sz="2500" b="0" i="1" u="sng" strike="noStrike" cap="none" normalizeH="0" baseline="0" smtClean="0">
              <a:ln>
                <a:noFill/>
              </a:ln>
              <a:solidFill>
                <a:srgbClr val="08205C"/>
              </a:solidFill>
              <a:effectLst/>
              <a:latin typeface="Corbel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 10"/>
          <p:cNvGraphicFramePr/>
          <p:nvPr/>
        </p:nvGraphicFramePr>
        <p:xfrm>
          <a:off x="2243818" y="1264022"/>
          <a:ext cx="8271782" cy="56477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3317" name="Picture 12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4000500"/>
            <a:ext cx="2738438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8" name="Picture 2" descr="D:\SANG\unduhan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776913" y="381000"/>
            <a:ext cx="3205162" cy="776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41233244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14:ripple dir="ru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/>
          </p:cNvSpPr>
          <p:nvPr/>
        </p:nvSpPr>
        <p:spPr bwMode="auto">
          <a:xfrm>
            <a:off x="495300" y="285750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2400" b="0" i="1" u="sng" strike="noStrike" cap="none" normalizeH="0" baseline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P</a:t>
            </a:r>
            <a:r>
              <a:rPr kumimoji="0" lang="id-ID" sz="2400" b="0" i="1" u="sng" strike="noStrike" cap="none" normalizeH="0" baseline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roduk Unggulan Mantap</a:t>
            </a:r>
            <a:r>
              <a:rPr kumimoji="0" lang="en-AU" sz="2400" b="0" i="1" u="sng" strike="noStrike" cap="none" normalizeH="0" baseline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/>
            </a:r>
            <a:br>
              <a:rPr kumimoji="0" lang="en-AU" sz="2400" b="0" i="1" u="sng" strike="noStrike" cap="none" normalizeH="0" baseline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</a:br>
            <a:r>
              <a:rPr kumimoji="0" lang="en-AU" sz="2400" b="0" i="1" u="none" strike="noStrike" cap="none" normalizeH="0" baseline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2</a:t>
            </a:r>
            <a:r>
              <a:rPr kumimoji="0" lang="en-AU" sz="2000" b="1" i="1" u="none" strike="noStrike" cap="none" normalizeH="0" baseline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. </a:t>
            </a:r>
            <a:r>
              <a:rPr kumimoji="0" lang="id-ID" sz="2000" b="1" i="1" u="none" strike="noStrike" cap="none" normalizeH="0" baseline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 </a:t>
            </a:r>
            <a:r>
              <a:rPr kumimoji="0" lang="en-AU" sz="2000" b="1" i="1" u="none" strike="noStrike" cap="none" normalizeH="0" baseline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KSM UMROH </a:t>
            </a:r>
            <a:r>
              <a:rPr kumimoji="0" lang="en-AU" sz="2000" b="1" i="0" u="none" strike="noStrike" cap="none" normalizeH="0" baseline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“</a:t>
            </a:r>
            <a:r>
              <a:rPr kumimoji="0" lang="en-AU" sz="2000" b="1" i="1" u="none" strike="noStrike" cap="none" normalizeH="0" baseline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PROGRAM</a:t>
            </a:r>
            <a:r>
              <a:rPr kumimoji="0" lang="en-AU" sz="2000" b="1" i="0" u="none" strike="noStrike" cap="none" normalizeH="0" baseline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 Umroh Dulu Baru Bayar”</a:t>
            </a:r>
            <a:endParaRPr kumimoji="0" lang="en-US" sz="4400" b="0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pic>
        <p:nvPicPr>
          <p:cNvPr id="14339" name="Picture 2" descr="E:\Screenshot_20170529_140220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47763" y="1428750"/>
            <a:ext cx="7900987" cy="4525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41233244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14:ripple dir="ru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5"/>
          <p:cNvSpPr>
            <a:spLocks noChangeArrowheads="1"/>
          </p:cNvSpPr>
          <p:nvPr/>
        </p:nvSpPr>
        <p:spPr bwMode="auto">
          <a:xfrm>
            <a:off x="0" y="58738"/>
            <a:ext cx="2214563" cy="649287"/>
          </a:xfrm>
          <a:prstGeom prst="rect">
            <a:avLst/>
          </a:prstGeom>
          <a:solidFill>
            <a:srgbClr val="C0C0C0"/>
          </a:solidFill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5363" name="Rectangle 9"/>
          <p:cNvSpPr txBox="1">
            <a:spLocks noChangeArrowheads="1"/>
          </p:cNvSpPr>
          <p:nvPr/>
        </p:nvSpPr>
        <p:spPr bwMode="auto">
          <a:xfrm>
            <a:off x="458788" y="203200"/>
            <a:ext cx="6926262" cy="1060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2500" b="0" i="1" u="sng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P</a:t>
            </a:r>
            <a:r>
              <a:rPr kumimoji="0" lang="id-ID" sz="2500" b="0" i="1" u="sng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roduk Unggulan Mantap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 3</a:t>
            </a:r>
            <a:r>
              <a:rPr kumimoji="0" lang="id-ID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. Kredit BUP ( 2 th menjelang Pensiun)</a:t>
            </a:r>
            <a:r>
              <a:rPr kumimoji="0" lang="en-AU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/>
            </a:r>
            <a:br>
              <a:rPr kumimoji="0" lang="en-AU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1" name="Diagram 10"/>
          <p:cNvGraphicFramePr/>
          <p:nvPr/>
        </p:nvGraphicFramePr>
        <p:xfrm>
          <a:off x="2215092" y="1000108"/>
          <a:ext cx="9043458" cy="56477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5365" name="Picture 2" descr="D:\SANG\unduhan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776913" y="381000"/>
            <a:ext cx="3205162" cy="776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41233244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14:ripple dir="ru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9"/>
          <p:cNvSpPr txBox="1">
            <a:spLocks noChangeArrowheads="1"/>
          </p:cNvSpPr>
          <p:nvPr/>
        </p:nvSpPr>
        <p:spPr bwMode="auto">
          <a:xfrm>
            <a:off x="344488" y="111125"/>
            <a:ext cx="8481306" cy="1407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2500" b="0" i="1" u="sng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P</a:t>
            </a:r>
            <a:r>
              <a:rPr kumimoji="0" lang="id-ID" sz="2500" b="0" i="1" u="sng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roduk Unggulan Mantap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 4</a:t>
            </a:r>
            <a:r>
              <a:rPr kumimoji="0" lang="id-ID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. Kredit Pensiun</a:t>
            </a:r>
            <a:r>
              <a:rPr kumimoji="0" lang="en-AU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/>
            </a:r>
            <a:br>
              <a:rPr kumimoji="0" lang="en-AU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6387" name="Group 22"/>
          <p:cNvGrpSpPr>
            <a:grpSpLocks/>
          </p:cNvGrpSpPr>
          <p:nvPr/>
        </p:nvGrpSpPr>
        <p:grpSpPr bwMode="auto">
          <a:xfrm>
            <a:off x="981074" y="1606550"/>
            <a:ext cx="9705975" cy="4165600"/>
            <a:chOff x="1765817" y="1238815"/>
            <a:chExt cx="7926525" cy="3138571"/>
          </a:xfrm>
        </p:grpSpPr>
        <p:sp>
          <p:nvSpPr>
            <p:cNvPr id="22" name="Rectangle 3"/>
            <p:cNvSpPr>
              <a:spLocks noChangeArrowheads="1"/>
            </p:cNvSpPr>
            <p:nvPr/>
          </p:nvSpPr>
          <p:spPr bwMode="auto">
            <a:xfrm>
              <a:off x="2223025" y="2115138"/>
              <a:ext cx="3276657" cy="663593"/>
            </a:xfrm>
            <a:prstGeom prst="rect">
              <a:avLst/>
            </a:prstGeom>
            <a:solidFill>
              <a:srgbClr val="FAC090"/>
            </a:solidFill>
            <a:ln>
              <a:noFill/>
            </a:ln>
            <a:effectLst>
              <a:outerShdw dist="38100" dir="2700000" algn="ctr" rotWithShape="0">
                <a:srgbClr val="000000">
                  <a:alpha val="39000"/>
                </a:srgbClr>
              </a:outerShdw>
            </a:effectLst>
            <a:extLst>
              <a:ext uri="{91240B29-F687-4F45-9708-019B960494DF}"/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ahoma" pitchFamily="34" charset="0"/>
                  <a:cs typeface="Arial" pitchFamily="34" charset="0"/>
                </a:rPr>
                <a:t>Layanan kesehatan gratis </a:t>
              </a:r>
            </a:p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ahoma" pitchFamily="34" charset="0"/>
                  <a:cs typeface="Arial" pitchFamily="34" charset="0"/>
                </a:rPr>
                <a:t>setiap awal bulan Atau program lainnya</a:t>
              </a: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Rectangle 4"/>
            <p:cNvSpPr>
              <a:spLocks noChangeArrowheads="1"/>
            </p:cNvSpPr>
            <p:nvPr/>
          </p:nvSpPr>
          <p:spPr bwMode="auto">
            <a:xfrm>
              <a:off x="2223025" y="3713793"/>
              <a:ext cx="3276657" cy="663593"/>
            </a:xfrm>
            <a:prstGeom prst="rect">
              <a:avLst/>
            </a:prstGeom>
            <a:solidFill>
              <a:srgbClr val="FAC090"/>
            </a:solidFill>
            <a:ln>
              <a:noFill/>
            </a:ln>
            <a:effectLst>
              <a:outerShdw dist="38100" dir="2700000" algn="ctr" rotWithShape="0">
                <a:srgbClr val="000000">
                  <a:alpha val="39000"/>
                </a:srgbClr>
              </a:outerShdw>
            </a:effectLst>
            <a:extLst>
              <a:ext uri="{91240B29-F687-4F45-9708-019B960494DF}"/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ahoma" pitchFamily="34" charset="0"/>
                  <a:cs typeface="Arial" pitchFamily="34" charset="0"/>
                </a:rPr>
                <a:t>Jangka waktu</a:t>
              </a:r>
            </a:p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ahoma" pitchFamily="34" charset="0"/>
                  <a:cs typeface="Arial" pitchFamily="34" charset="0"/>
                </a:rPr>
                <a:t>1-15 tahun</a:t>
              </a: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Rectangle 5"/>
            <p:cNvSpPr>
              <a:spLocks noChangeArrowheads="1"/>
            </p:cNvSpPr>
            <p:nvPr/>
          </p:nvSpPr>
          <p:spPr bwMode="auto">
            <a:xfrm>
              <a:off x="6339484" y="2108788"/>
              <a:ext cx="3352858" cy="663593"/>
            </a:xfrm>
            <a:prstGeom prst="rect">
              <a:avLst/>
            </a:prstGeom>
            <a:solidFill>
              <a:srgbClr val="FAC090"/>
            </a:solidFill>
            <a:ln>
              <a:noFill/>
            </a:ln>
            <a:effectLst>
              <a:outerShdw dist="38100" dir="2700000" algn="ctr" rotWithShape="0">
                <a:srgbClr val="000000">
                  <a:alpha val="39000"/>
                </a:srgbClr>
              </a:outerShdw>
            </a:effectLst>
            <a:extLst>
              <a:ext uri="{91240B29-F687-4F45-9708-019B960494DF}"/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ahoma" pitchFamily="34" charset="0"/>
                  <a:cs typeface="Arial" pitchFamily="34" charset="0"/>
                </a:rPr>
                <a:t>Persyaratan Mudah, Proses Cepat, Cair di Hari Yang Sama</a:t>
              </a: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tangle 6"/>
            <p:cNvSpPr>
              <a:spLocks noChangeArrowheads="1"/>
            </p:cNvSpPr>
            <p:nvPr/>
          </p:nvSpPr>
          <p:spPr bwMode="auto">
            <a:xfrm>
              <a:off x="2223025" y="1315017"/>
              <a:ext cx="3276657" cy="663593"/>
            </a:xfrm>
            <a:prstGeom prst="rect">
              <a:avLst/>
            </a:prstGeom>
            <a:solidFill>
              <a:srgbClr val="FAC090"/>
            </a:solidFill>
            <a:ln>
              <a:noFill/>
            </a:ln>
            <a:effectLst>
              <a:outerShdw dist="38100" dir="2700000" algn="ctr" rotWithShape="0">
                <a:srgbClr val="000000">
                  <a:alpha val="39000"/>
                </a:srgbClr>
              </a:outerShdw>
            </a:effectLst>
            <a:extLst>
              <a:ext uri="{91240B29-F687-4F45-9708-019B960494DF}"/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ahoma" pitchFamily="34" charset="0"/>
                <a:cs typeface="Arial" pitchFamily="34" charset="0"/>
              </a:endParaRPr>
            </a:p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ahoma" pitchFamily="34" charset="0"/>
                  <a:cs typeface="Arial" pitchFamily="34" charset="0"/>
                </a:rPr>
                <a:t>Plafond pinjaman </a:t>
              </a:r>
            </a:p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ahoma" pitchFamily="34" charset="0"/>
                  <a:cs typeface="Arial" pitchFamily="34" charset="0"/>
                </a:rPr>
                <a:t>Hingga 350 juta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392" name="TextBox 41"/>
            <p:cNvSpPr txBox="1">
              <a:spLocks noChangeArrowheads="1"/>
            </p:cNvSpPr>
            <p:nvPr/>
          </p:nvSpPr>
          <p:spPr bwMode="auto">
            <a:xfrm>
              <a:off x="1765817" y="1238815"/>
              <a:ext cx="316117" cy="3385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ahoma" pitchFamily="34" charset="0"/>
                  <a:cs typeface="Arial" pitchFamily="34" charset="0"/>
                </a:rPr>
                <a:t>1</a:t>
              </a: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393" name="TextBox 42"/>
            <p:cNvSpPr txBox="1">
              <a:spLocks noChangeArrowheads="1"/>
            </p:cNvSpPr>
            <p:nvPr/>
          </p:nvSpPr>
          <p:spPr bwMode="auto">
            <a:xfrm>
              <a:off x="1765817" y="2834253"/>
              <a:ext cx="316117" cy="3385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ahoma" pitchFamily="34" charset="0"/>
                  <a:cs typeface="Arial" pitchFamily="34" charset="0"/>
                </a:rPr>
                <a:t>3</a:t>
              </a: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394" name="TextBox 43"/>
            <p:cNvSpPr txBox="1">
              <a:spLocks noChangeArrowheads="1"/>
            </p:cNvSpPr>
            <p:nvPr/>
          </p:nvSpPr>
          <p:spPr bwMode="auto">
            <a:xfrm>
              <a:off x="1773755" y="2034153"/>
              <a:ext cx="316117" cy="3385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ahoma" pitchFamily="34" charset="0"/>
                  <a:cs typeface="Arial" pitchFamily="34" charset="0"/>
                </a:rPr>
                <a:t>2</a:t>
              </a: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395" name="TextBox 44"/>
            <p:cNvSpPr txBox="1">
              <a:spLocks noChangeArrowheads="1"/>
            </p:cNvSpPr>
            <p:nvPr/>
          </p:nvSpPr>
          <p:spPr bwMode="auto">
            <a:xfrm>
              <a:off x="1765817" y="3634353"/>
              <a:ext cx="316117" cy="3385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ahoma" pitchFamily="34" charset="0"/>
                  <a:cs typeface="Arial" pitchFamily="34" charset="0"/>
                </a:rPr>
                <a:t>4</a:t>
              </a: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Rectangle 29"/>
            <p:cNvSpPr>
              <a:spLocks noChangeArrowheads="1"/>
            </p:cNvSpPr>
            <p:nvPr/>
          </p:nvSpPr>
          <p:spPr bwMode="auto">
            <a:xfrm>
              <a:off x="6302970" y="1308667"/>
              <a:ext cx="3352858" cy="663593"/>
            </a:xfrm>
            <a:prstGeom prst="rect">
              <a:avLst/>
            </a:prstGeom>
            <a:solidFill>
              <a:srgbClr val="FAC090"/>
            </a:solidFill>
            <a:ln>
              <a:noFill/>
            </a:ln>
            <a:effectLst>
              <a:outerShdw dist="38100" dir="2700000" algn="ctr" rotWithShape="0">
                <a:srgbClr val="000000">
                  <a:alpha val="39000"/>
                </a:srgbClr>
              </a:outerShdw>
            </a:effectLst>
            <a:extLst>
              <a:ext uri="{91240B29-F687-4F45-9708-019B960494DF}"/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ahoma" pitchFamily="34" charset="0"/>
                  <a:cs typeface="Arial" pitchFamily="34" charset="0"/>
                </a:rPr>
                <a:t>Suku bunga Bersaing</a:t>
              </a: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Rectangle 30"/>
            <p:cNvSpPr>
              <a:spLocks noChangeArrowheads="1"/>
            </p:cNvSpPr>
            <p:nvPr/>
          </p:nvSpPr>
          <p:spPr bwMode="auto">
            <a:xfrm>
              <a:off x="2223025" y="2924785"/>
              <a:ext cx="3276657" cy="663593"/>
            </a:xfrm>
            <a:prstGeom prst="rect">
              <a:avLst/>
            </a:prstGeom>
            <a:solidFill>
              <a:srgbClr val="FAC090"/>
            </a:solidFill>
            <a:ln>
              <a:noFill/>
            </a:ln>
            <a:effectLst>
              <a:outerShdw dist="38100" dir="2700000" algn="ctr" rotWithShape="0">
                <a:srgbClr val="000000">
                  <a:alpha val="39000"/>
                </a:srgbClr>
              </a:outerShdw>
            </a:effectLst>
            <a:extLst>
              <a:ext uri="{91240B29-F687-4F45-9708-019B960494DF}"/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ahoma" pitchFamily="34" charset="0"/>
                  <a:cs typeface="Arial" pitchFamily="34" charset="0"/>
                </a:rPr>
                <a:t>Usia Maksimal : 75 tahun</a:t>
              </a: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Rectangle 31"/>
            <p:cNvSpPr>
              <a:spLocks noChangeArrowheads="1"/>
            </p:cNvSpPr>
            <p:nvPr/>
          </p:nvSpPr>
          <p:spPr bwMode="auto">
            <a:xfrm>
              <a:off x="6339484" y="2918434"/>
              <a:ext cx="3352858" cy="663593"/>
            </a:xfrm>
            <a:prstGeom prst="rect">
              <a:avLst/>
            </a:prstGeom>
            <a:solidFill>
              <a:srgbClr val="FAC090"/>
            </a:solidFill>
            <a:ln>
              <a:noFill/>
            </a:ln>
            <a:effectLst>
              <a:outerShdw dist="38100" dir="2700000" algn="ctr" rotWithShape="0">
                <a:srgbClr val="000000">
                  <a:alpha val="39000"/>
                </a:srgbClr>
              </a:outerShdw>
            </a:effectLst>
            <a:extLst>
              <a:ext uri="{91240B29-F687-4F45-9708-019B960494DF}"/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ahoma" pitchFamily="34" charset="0"/>
                  <a:cs typeface="Arial" pitchFamily="34" charset="0"/>
                </a:rPr>
                <a:t>Asuransi Jiwa Premi Murah</a:t>
              </a: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399" name="TextBox 48"/>
            <p:cNvSpPr txBox="1">
              <a:spLocks noChangeArrowheads="1"/>
            </p:cNvSpPr>
            <p:nvPr/>
          </p:nvSpPr>
          <p:spPr bwMode="auto">
            <a:xfrm>
              <a:off x="5833130" y="1245678"/>
              <a:ext cx="316117" cy="3385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ahoma" pitchFamily="34" charset="0"/>
                  <a:cs typeface="Arial" pitchFamily="34" charset="0"/>
                </a:rPr>
                <a:t>5</a:t>
              </a: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400" name="TextBox 49"/>
            <p:cNvSpPr txBox="1">
              <a:spLocks noChangeArrowheads="1"/>
            </p:cNvSpPr>
            <p:nvPr/>
          </p:nvSpPr>
          <p:spPr bwMode="auto">
            <a:xfrm>
              <a:off x="5833130" y="2064828"/>
              <a:ext cx="316117" cy="3385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ahoma" pitchFamily="34" charset="0"/>
                  <a:cs typeface="Arial" pitchFamily="34" charset="0"/>
                </a:rPr>
                <a:t>6</a:t>
              </a: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401" name="TextBox 50"/>
            <p:cNvSpPr txBox="1">
              <a:spLocks noChangeArrowheads="1"/>
            </p:cNvSpPr>
            <p:nvPr/>
          </p:nvSpPr>
          <p:spPr bwMode="auto">
            <a:xfrm>
              <a:off x="5833130" y="2890328"/>
              <a:ext cx="316117" cy="3385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ahoma" pitchFamily="34" charset="0"/>
                  <a:cs typeface="Arial" pitchFamily="34" charset="0"/>
                </a:rPr>
                <a:t>7</a:t>
              </a: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402" name="TextBox 51"/>
            <p:cNvSpPr txBox="1">
              <a:spLocks noChangeArrowheads="1"/>
            </p:cNvSpPr>
            <p:nvPr/>
          </p:nvSpPr>
          <p:spPr bwMode="auto">
            <a:xfrm>
              <a:off x="5833130" y="3671805"/>
              <a:ext cx="316117" cy="3385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ahoma" pitchFamily="34" charset="0"/>
                  <a:cs typeface="Arial" pitchFamily="34" charset="0"/>
                </a:rPr>
                <a:t>8</a:t>
              </a: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Rectangle 36"/>
            <p:cNvSpPr>
              <a:spLocks noChangeArrowheads="1"/>
            </p:cNvSpPr>
            <p:nvPr/>
          </p:nvSpPr>
          <p:spPr bwMode="auto">
            <a:xfrm>
              <a:off x="6339484" y="3713793"/>
              <a:ext cx="3352858" cy="663593"/>
            </a:xfrm>
            <a:prstGeom prst="rect">
              <a:avLst/>
            </a:prstGeom>
            <a:solidFill>
              <a:srgbClr val="FAC090"/>
            </a:solidFill>
            <a:ln>
              <a:noFill/>
            </a:ln>
            <a:effectLst>
              <a:outerShdw dist="38100" dir="2700000" algn="ctr" rotWithShape="0">
                <a:srgbClr val="000000">
                  <a:alpha val="39000"/>
                </a:srgbClr>
              </a:outerShdw>
            </a:effectLst>
            <a:extLst>
              <a:ext uri="{91240B29-F687-4F45-9708-019B960494DF}"/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6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ahoma" pitchFamily="34" charset="0"/>
                  <a:cs typeface="Arial" pitchFamily="34" charset="0"/>
                </a:rPr>
                <a:t>Metode pengenaan suku bunga flat / Tetap</a:t>
              </a: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1233244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14:ripple dir="ru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11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452813" y="328613"/>
            <a:ext cx="7710487" cy="6200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2F4D71"/>
            </a:prstShdw>
          </a:effectLst>
        </p:spPr>
      </p:pic>
      <p:sp>
        <p:nvSpPr>
          <p:cNvPr id="3" name="Rectangle 2"/>
          <p:cNvSpPr/>
          <p:nvPr/>
        </p:nvSpPr>
        <p:spPr>
          <a:xfrm>
            <a:off x="166688" y="1857375"/>
            <a:ext cx="3000375" cy="163195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25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Skala Angsuran posisi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25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Mei 2017</a:t>
            </a:r>
            <a:endParaRPr kumimoji="0" lang="id-ID" sz="2500" b="1" i="1" u="sng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orbel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9"/>
          <p:cNvSpPr txBox="1">
            <a:spLocks noChangeArrowheads="1"/>
          </p:cNvSpPr>
          <p:nvPr/>
        </p:nvSpPr>
        <p:spPr bwMode="auto">
          <a:xfrm>
            <a:off x="2041611" y="252910"/>
            <a:ext cx="6065001" cy="52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endParaRPr lang="en-US" sz="2600" b="0" kern="0" dirty="0">
              <a:solidFill>
                <a:prstClr val="black">
                  <a:lumMod val="50000"/>
                  <a:lumOff val="50000"/>
                </a:prstClr>
              </a:solidFill>
              <a:latin typeface="Arial"/>
              <a:ea typeface="ＭＳ Ｐゴシック"/>
              <a:cs typeface="ＭＳ Ｐゴシック"/>
            </a:endParaRPr>
          </a:p>
        </p:txBody>
      </p:sp>
      <p:pic>
        <p:nvPicPr>
          <p:cNvPr id="6" name="Content Placeholder 5" descr="growth.jpg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56631" y="3297382"/>
            <a:ext cx="8192254" cy="3297382"/>
          </a:xfrm>
        </p:spPr>
      </p:pic>
      <p:cxnSp>
        <p:nvCxnSpPr>
          <p:cNvPr id="9" name="Straight Connector 8"/>
          <p:cNvCxnSpPr/>
          <p:nvPr/>
        </p:nvCxnSpPr>
        <p:spPr>
          <a:xfrm rot="5400000" flipH="1" flipV="1">
            <a:off x="2175171" y="5320155"/>
            <a:ext cx="1662529" cy="1588"/>
          </a:xfrm>
          <a:prstGeom prst="line">
            <a:avLst/>
          </a:prstGeom>
          <a:ln>
            <a:solidFill>
              <a:srgbClr val="002060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745791" y="4489684"/>
            <a:ext cx="125984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200"/>
            <a:r>
              <a:rPr lang="en-US" sz="1600" b="1" dirty="0">
                <a:solidFill>
                  <a:prstClr val="black"/>
                </a:solidFill>
                <a:latin typeface="Calibri"/>
              </a:rPr>
              <a:t>1970</a:t>
            </a:r>
          </a:p>
          <a:p>
            <a:pPr algn="r" defTabSz="457200"/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Bank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Pasar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MAI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Sinar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Harapan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Bali</a:t>
            </a:r>
            <a:endParaRPr lang="en-US" sz="120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rot="5400000" flipH="1" flipV="1">
            <a:off x="3270479" y="5320154"/>
            <a:ext cx="1662529" cy="1590"/>
          </a:xfrm>
          <a:prstGeom prst="line">
            <a:avLst/>
          </a:prstGeom>
          <a:ln>
            <a:solidFill>
              <a:srgbClr val="002060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2841098" y="4391927"/>
            <a:ext cx="12598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200"/>
            <a:r>
              <a:rPr lang="en-US" sz="1600" b="1" dirty="0">
                <a:solidFill>
                  <a:prstClr val="black"/>
                </a:solidFill>
                <a:latin typeface="Calibri"/>
              </a:rPr>
              <a:t>2008</a:t>
            </a:r>
          </a:p>
          <a:p>
            <a:pPr algn="r" defTabSz="457200"/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Akuisisi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Oleh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Bank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Mandiri</a:t>
            </a:r>
            <a:endParaRPr lang="en-US" sz="120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 rot="5400000" flipH="1" flipV="1">
            <a:off x="3601812" y="4613953"/>
            <a:ext cx="3076512" cy="1588"/>
          </a:xfrm>
          <a:prstGeom prst="line">
            <a:avLst/>
          </a:prstGeom>
          <a:ln>
            <a:solidFill>
              <a:srgbClr val="002060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3920836" y="3075697"/>
            <a:ext cx="121923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200"/>
            <a:r>
              <a:rPr lang="en-US" sz="1600" b="1" dirty="0">
                <a:solidFill>
                  <a:prstClr val="black"/>
                </a:solidFill>
                <a:latin typeface="Calibri"/>
              </a:rPr>
              <a:t>2012</a:t>
            </a:r>
          </a:p>
          <a:p>
            <a:pPr algn="r" defTabSz="457200"/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Head of Agreement (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HoA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)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dengan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POS Indonesia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kesepakatan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awal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pembentukan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Bank JV</a:t>
            </a:r>
          </a:p>
        </p:txBody>
      </p:sp>
      <p:cxnSp>
        <p:nvCxnSpPr>
          <p:cNvPr id="20" name="Straight Connector 19"/>
          <p:cNvCxnSpPr/>
          <p:nvPr/>
        </p:nvCxnSpPr>
        <p:spPr>
          <a:xfrm rot="5400000" flipH="1" flipV="1">
            <a:off x="4627077" y="4669368"/>
            <a:ext cx="3076512" cy="1588"/>
          </a:xfrm>
          <a:prstGeom prst="line">
            <a:avLst/>
          </a:prstGeom>
          <a:ln>
            <a:solidFill>
              <a:srgbClr val="002060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5140066" y="3061842"/>
            <a:ext cx="103912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200"/>
            <a:r>
              <a:rPr lang="en-US" sz="1600" b="1" dirty="0">
                <a:solidFill>
                  <a:prstClr val="black"/>
                </a:solidFill>
                <a:latin typeface="Calibri"/>
              </a:rPr>
              <a:t>2013</a:t>
            </a:r>
          </a:p>
          <a:p>
            <a:pPr algn="r" defTabSz="457200"/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Kesepakatan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Kemitraan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Strategis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Bank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Mandiri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, PT.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Taspen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dan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POS Indonesia</a:t>
            </a:r>
          </a:p>
        </p:txBody>
      </p:sp>
      <p:cxnSp>
        <p:nvCxnSpPr>
          <p:cNvPr id="22" name="Straight Connector 21"/>
          <p:cNvCxnSpPr/>
          <p:nvPr/>
        </p:nvCxnSpPr>
        <p:spPr>
          <a:xfrm rot="5400000" flipH="1" flipV="1">
            <a:off x="5665269" y="4282084"/>
            <a:ext cx="3908083" cy="1588"/>
          </a:xfrm>
          <a:prstGeom prst="line">
            <a:avLst/>
          </a:prstGeom>
          <a:ln>
            <a:solidFill>
              <a:srgbClr val="002060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6179191" y="2397317"/>
            <a:ext cx="144011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200"/>
            <a:r>
              <a:rPr lang="en-US" sz="1600" b="1" dirty="0">
                <a:solidFill>
                  <a:prstClr val="black"/>
                </a:solidFill>
                <a:latin typeface="Calibri"/>
              </a:rPr>
              <a:t>2014</a:t>
            </a:r>
          </a:p>
          <a:p>
            <a:pPr algn="r" defTabSz="457200"/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Tanda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tangan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Perjanjian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Pemegang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Saham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(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Agt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)</a:t>
            </a:r>
          </a:p>
          <a:p>
            <a:pPr algn="r" defTabSz="457200"/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RUPS LB Bank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Sinar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&amp;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Penyetoran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Saham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Baru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oleh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para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</a:t>
            </a:r>
            <a:r>
              <a:rPr lang="en-US" altLang="zh-CN" sz="1200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pihak</a:t>
            </a:r>
            <a:r>
              <a:rPr lang="en-US" altLang="zh-CN" sz="12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 (Des)</a:t>
            </a:r>
          </a:p>
        </p:txBody>
      </p:sp>
      <p:cxnSp>
        <p:nvCxnSpPr>
          <p:cNvPr id="26" name="Straight Connector 25"/>
          <p:cNvCxnSpPr/>
          <p:nvPr/>
        </p:nvCxnSpPr>
        <p:spPr>
          <a:xfrm rot="5400000" flipH="1" flipV="1">
            <a:off x="7390011" y="3817349"/>
            <a:ext cx="4864869" cy="1977"/>
          </a:xfrm>
          <a:prstGeom prst="line">
            <a:avLst/>
          </a:prstGeom>
          <a:ln>
            <a:solidFill>
              <a:srgbClr val="002060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31" name="Picture 30" descr="logo Bank Mantap low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74049" y="2418269"/>
            <a:ext cx="1645569" cy="1161771"/>
          </a:xfrm>
          <a:prstGeom prst="rect">
            <a:avLst/>
          </a:prstGeom>
        </p:spPr>
      </p:pic>
      <p:pic>
        <p:nvPicPr>
          <p:cNvPr id="19" name="Picture 5" descr="http://sinarharapan.co/sh_img/15/07/25/l/150725005image.jpg">
            <a:hlinkClick r:id="rId4" action="ppaction://hlinkfile"/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081951" y="1177422"/>
            <a:ext cx="2696238" cy="174058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0" name="TextBox 29"/>
          <p:cNvSpPr txBox="1"/>
          <p:nvPr/>
        </p:nvSpPr>
        <p:spPr>
          <a:xfrm>
            <a:off x="8106612" y="1399752"/>
            <a:ext cx="1715638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200"/>
            <a:r>
              <a:rPr lang="en-US" sz="2000" b="1" dirty="0">
                <a:solidFill>
                  <a:prstClr val="black"/>
                </a:solidFill>
                <a:latin typeface="Calibri"/>
              </a:rPr>
              <a:t>2015</a:t>
            </a:r>
          </a:p>
          <a:p>
            <a:pPr algn="r" defTabSz="457200"/>
            <a:r>
              <a:rPr lang="nl-NL" altLang="zh-CN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  <a:sym typeface="MS PGothic" panose="020B0600070205080204" pitchFamily="34" charset="-128"/>
              </a:rPr>
              <a:t>Ijin OJK dan Branding Bank Mantap (Juli)</a:t>
            </a:r>
          </a:p>
        </p:txBody>
      </p:sp>
      <p:sp>
        <p:nvSpPr>
          <p:cNvPr id="28" name="Rectangle 27"/>
          <p:cNvSpPr>
            <a:spLocks noChangeArrowheads="1"/>
          </p:cNvSpPr>
          <p:nvPr/>
        </p:nvSpPr>
        <p:spPr bwMode="auto">
          <a:xfrm>
            <a:off x="1524000" y="58504"/>
            <a:ext cx="2044700" cy="649288"/>
          </a:xfrm>
          <a:prstGeom prst="rect">
            <a:avLst/>
          </a:pr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defTabSz="457200"/>
            <a:endParaRPr lang="id-ID" altLang="id-ID" sz="1600">
              <a:solidFill>
                <a:srgbClr val="1F497D"/>
              </a:solidFill>
            </a:endParaRPr>
          </a:p>
        </p:txBody>
      </p:sp>
      <p:sp>
        <p:nvSpPr>
          <p:cNvPr id="29" name="Rectangle 28"/>
          <p:cNvSpPr>
            <a:spLocks noChangeArrowheads="1"/>
          </p:cNvSpPr>
          <p:nvPr/>
        </p:nvSpPr>
        <p:spPr bwMode="auto">
          <a:xfrm>
            <a:off x="1841500" y="128355"/>
            <a:ext cx="3057713" cy="474663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defTabSz="457200">
              <a:defRPr/>
            </a:pPr>
            <a:endParaRPr lang="id-ID" sz="160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23" name="Rectangle 9"/>
          <p:cNvSpPr txBox="1">
            <a:spLocks noChangeArrowheads="1"/>
          </p:cNvSpPr>
          <p:nvPr/>
        </p:nvSpPr>
        <p:spPr bwMode="auto">
          <a:xfrm>
            <a:off x="2041609" y="199122"/>
            <a:ext cx="7187557" cy="52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US" sz="2400" b="0" kern="0" dirty="0" err="1">
                <a:solidFill>
                  <a:prstClr val="black"/>
                </a:solidFill>
                <a:latin typeface="Arial"/>
                <a:ea typeface="ＭＳ Ｐゴシック"/>
                <a:cs typeface="ＭＳ Ｐゴシック"/>
              </a:rPr>
              <a:t>Selayang</a:t>
            </a:r>
            <a:r>
              <a:rPr lang="en-US" sz="2400" b="0" kern="0" dirty="0">
                <a:solidFill>
                  <a:prstClr val="black"/>
                </a:solidFill>
                <a:latin typeface="Arial"/>
                <a:ea typeface="ＭＳ Ｐゴシック"/>
                <a:cs typeface="ＭＳ Ｐゴシック"/>
              </a:rPr>
              <a:t> Pandang</a:t>
            </a:r>
          </a:p>
        </p:txBody>
      </p:sp>
    </p:spTree>
    <p:extLst>
      <p:ext uri="{BB962C8B-B14F-4D97-AF65-F5344CB8AC3E}">
        <p14:creationId xmlns:p14="http://schemas.microsoft.com/office/powerpoint/2010/main" xmlns="" val="934761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IMG-20161120-WA000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38250" y="1196975"/>
            <a:ext cx="6286500" cy="4956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9"/>
          <p:cNvSpPr txBox="1">
            <a:spLocks noChangeArrowheads="1"/>
          </p:cNvSpPr>
          <p:nvPr/>
        </p:nvSpPr>
        <p:spPr bwMode="auto">
          <a:xfrm>
            <a:off x="458788" y="203200"/>
            <a:ext cx="7208837" cy="954088"/>
          </a:xfrm>
          <a:prstGeom prst="rect">
            <a:avLst/>
          </a:prstGeom>
          <a:noFill/>
          <a:ln>
            <a:noFill/>
          </a:ln>
          <a:extLs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2500" b="0" i="1" u="sng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P</a:t>
            </a:r>
            <a:r>
              <a:rPr kumimoji="0" lang="id-ID" sz="2500" b="0" i="1" u="sng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roduk Unggulan Mantap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5. </a:t>
            </a:r>
            <a:r>
              <a:rPr kumimoji="0" lang="id-ID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Tabungan Prima </a:t>
            </a:r>
            <a:endParaRPr kumimoji="0" lang="id-ID" sz="2500" b="0" i="1" u="sng" strike="noStrike" cap="none" normalizeH="0" baseline="0" smtClean="0">
              <a:ln>
                <a:noFill/>
              </a:ln>
              <a:solidFill>
                <a:srgbClr val="08205C"/>
              </a:solidFill>
              <a:effectLst/>
              <a:latin typeface="Corbel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233244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14:ripple dir="ru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C:\Users\3072-16-K\AppData\Local\Microsoft\Windows\Temporary Internet Files\Content.Outlook\T30J16BK\IMG-20161120-WA0005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309688" y="1157288"/>
            <a:ext cx="8615362" cy="5496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9"/>
          <p:cNvSpPr txBox="1">
            <a:spLocks noChangeArrowheads="1"/>
          </p:cNvSpPr>
          <p:nvPr/>
        </p:nvSpPr>
        <p:spPr bwMode="auto">
          <a:xfrm>
            <a:off x="128588" y="203200"/>
            <a:ext cx="7208837" cy="954088"/>
          </a:xfrm>
          <a:prstGeom prst="rect">
            <a:avLst/>
          </a:prstGeom>
          <a:noFill/>
          <a:ln>
            <a:noFill/>
          </a:ln>
          <a:extLs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2500" b="0" i="1" u="sng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P</a:t>
            </a:r>
            <a:r>
              <a:rPr kumimoji="0" lang="id-ID" sz="2500" b="0" i="1" u="sng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roduk Unggulan Mantap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6. </a:t>
            </a:r>
            <a:r>
              <a:rPr kumimoji="0" lang="id-ID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Tabungan berhadiah langsung tanpa diundi</a:t>
            </a:r>
            <a:r>
              <a:rPr kumimoji="0" lang="en-AU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/>
            </a:r>
            <a:br>
              <a:rPr kumimoji="0" lang="en-AU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</a:br>
            <a:endParaRPr kumimoji="0" lang="id-ID" sz="2500" b="0" i="1" u="sng" strike="noStrike" cap="none" normalizeH="0" baseline="0" smtClean="0">
              <a:ln>
                <a:noFill/>
              </a:ln>
              <a:solidFill>
                <a:srgbClr val="08205C"/>
              </a:solidFill>
              <a:effectLst/>
              <a:latin typeface="Corbel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233244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14:ripple dir="ru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69355" y="95250"/>
            <a:ext cx="12261355" cy="681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58775" y="1217613"/>
            <a:ext cx="8737600" cy="5068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</p:pic>
      <p:sp>
        <p:nvSpPr>
          <p:cNvPr id="19459" name="Rectangle 9"/>
          <p:cNvSpPr txBox="1">
            <a:spLocks noChangeArrowheads="1"/>
          </p:cNvSpPr>
          <p:nvPr/>
        </p:nvSpPr>
        <p:spPr bwMode="auto">
          <a:xfrm>
            <a:off x="344488" y="111125"/>
            <a:ext cx="6926262" cy="1060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d-ID" sz="4000" b="0" i="1" u="sng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AU" sz="2500" b="0" i="1" u="sng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P</a:t>
            </a:r>
            <a:r>
              <a:rPr kumimoji="0" lang="id-ID" sz="2500" b="0" i="1" u="sng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roduk Unggulan Mantap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 7</a:t>
            </a:r>
            <a:r>
              <a:rPr kumimoji="0" lang="id-ID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>. Deposito Mantap</a:t>
            </a:r>
            <a:r>
              <a:rPr kumimoji="0" lang="en-AU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  <a:t/>
            </a:r>
            <a:br>
              <a:rPr kumimoji="0" lang="en-AU" sz="2400" b="1" i="1" u="none" strike="noStrike" cap="none" normalizeH="0" baseline="0" smtClean="0">
                <a:ln>
                  <a:noFill/>
                </a:ln>
                <a:solidFill>
                  <a:srgbClr val="08205C"/>
                </a:solidFill>
                <a:effectLst/>
                <a:latin typeface="Corbel" pitchFamily="34" charset="0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233244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14:ripple dir="ru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 descr="E:\IMG-20170224-WA0006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24000" y="1143000"/>
            <a:ext cx="6215063" cy="528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55" name="Rectangle 3"/>
          <p:cNvSpPr>
            <a:spLocks noChangeArrowheads="1"/>
          </p:cNvSpPr>
          <p:nvPr/>
        </p:nvSpPr>
        <p:spPr bwMode="auto">
          <a:xfrm>
            <a:off x="1023938" y="142875"/>
            <a:ext cx="714375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30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  <a:t>Fasilitas Layanan Bank Mantap</a:t>
            </a:r>
            <a:br>
              <a:rPr kumimoji="0" lang="en-AU" sz="3000" b="1" i="1" u="sng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orbel" pitchFamily="34" charset="0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2395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 idx="4294967295"/>
          </p:nvPr>
        </p:nvSpPr>
        <p:spPr bwMode="auto">
          <a:xfrm>
            <a:off x="495300" y="274638"/>
            <a:ext cx="1052703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4400" b="0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pic>
        <p:nvPicPr>
          <p:cNvPr id="24579" name="Picture 2" descr="F:\tabungan simantap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16967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915764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81288" y="965200"/>
            <a:ext cx="6338887" cy="57626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600" b="1" i="0" u="none" strike="noStrike" cap="none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5603" name="Text Box 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614613" y="1046163"/>
            <a:ext cx="5591175" cy="39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900" b="1" i="0" u="none" strike="noStrike" cap="none" normalizeH="0" baseline="0" noProof="1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rPr>
              <a:t>       Manfaat Pensiunan Mantap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 Box 3"/>
          <p:cNvSpPr txBox="1">
            <a:spLocks noChangeArrowheads="1"/>
          </p:cNvSpPr>
          <p:nvPr/>
        </p:nvSpPr>
        <p:spPr bwMode="auto">
          <a:xfrm>
            <a:off x="2681288" y="1617663"/>
            <a:ext cx="6338887" cy="36322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buFont typeface="Arial" pitchFamily="34" charset="0"/>
              <a:buChar char="•"/>
              <a:tabLst/>
            </a:pPr>
            <a:r>
              <a:rPr kumimoji="0" lang="id-ID" sz="2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cs typeface="Arial" pitchFamily="34" charset="0"/>
              </a:rPr>
              <a:t>Tabungan Berhadiah setoran awal langsung (WIC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buFont typeface="Arial" pitchFamily="34" charset="0"/>
              <a:buChar char="•"/>
              <a:tabLst/>
            </a:pPr>
            <a:r>
              <a:rPr kumimoji="0" lang="id-ID" sz="2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cs typeface="Arial" pitchFamily="34" charset="0"/>
              </a:rPr>
              <a:t>Tabungan Bebas Biaya ADM seumur hidup (untuk non fasilitas kartu ATM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buFont typeface="Arial" pitchFamily="34" charset="0"/>
              <a:buChar char="•"/>
              <a:tabLst/>
            </a:pPr>
            <a:r>
              <a:rPr kumimoji="0" lang="id-ID" sz="2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cs typeface="Arial" pitchFamily="34" charset="0"/>
              </a:rPr>
              <a:t>Bisa Tarik Tunai gaji pensiun diseluruh mesin ATM Mandiri/ ATM Bersama/ Link </a:t>
            </a:r>
            <a:r>
              <a:rPr kumimoji="0" lang="en-US" sz="2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cs typeface="Arial" pitchFamily="34" charset="0"/>
              </a:rPr>
              <a:t>  </a:t>
            </a:r>
            <a:endParaRPr kumimoji="0" lang="id-ID" sz="20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Times New Roman" pitchFamily="18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buFont typeface="Arial" pitchFamily="34" charset="0"/>
              <a:buChar char="•"/>
              <a:tabLst/>
            </a:pPr>
            <a:r>
              <a:rPr kumimoji="0" lang="id-ID" sz="2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cs typeface="Arial" pitchFamily="34" charset="0"/>
              </a:rPr>
              <a:t>Check Up gratis kesehatan setiap tanggal gajian di Cabang terdekat Mantap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buFont typeface="Arial" pitchFamily="34" charset="0"/>
              <a:buChar char="•"/>
              <a:tabLst/>
            </a:pPr>
            <a:r>
              <a:rPr kumimoji="0" lang="id-ID" sz="2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cs typeface="Arial" pitchFamily="34" charset="0"/>
              </a:rPr>
              <a:t>Layanan Penuh  Klim Taspen dan ASABRI </a:t>
            </a:r>
            <a:r>
              <a:rPr kumimoji="0" lang="en-US" sz="2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Times New Roman" pitchFamily="18" charset="0"/>
                <a:cs typeface="Arial" pitchFamily="34" charset="0"/>
              </a:rPr>
              <a:t> </a:t>
            </a:r>
            <a:endParaRPr kumimoji="0" lang="id-ID" sz="2000" b="1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Times New Roman" pitchFamily="18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5605" name="Picture 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04813" y="936625"/>
            <a:ext cx="2212975" cy="416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6" name="Picture 13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655050" y="5329238"/>
            <a:ext cx="1246188" cy="881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314766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81265" y="5411450"/>
            <a:ext cx="8494294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800" b="1" dirty="0" err="1" smtClean="0">
                <a:solidFill>
                  <a:srgbClr val="1B3866"/>
                </a:solidFill>
                <a:latin typeface="Avenir Black" charset="0"/>
                <a:ea typeface="Avenir Black" charset="0"/>
                <a:cs typeface="Avenir Black" charset="0"/>
              </a:rPr>
              <a:t>Terima</a:t>
            </a:r>
            <a:r>
              <a:rPr lang="en-US" sz="4800" b="1" dirty="0" smtClean="0">
                <a:solidFill>
                  <a:srgbClr val="1B3866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  <a:r>
              <a:rPr lang="en-US" sz="4800" b="1" dirty="0" err="1" smtClean="0">
                <a:solidFill>
                  <a:srgbClr val="1B3866"/>
                </a:solidFill>
                <a:latin typeface="Avenir Black" charset="0"/>
                <a:ea typeface="Avenir Black" charset="0"/>
                <a:cs typeface="Avenir Black" charset="0"/>
              </a:rPr>
              <a:t>Kasih</a:t>
            </a:r>
            <a:endParaRPr lang="en-US" sz="4800" b="1" dirty="0" smtClean="0">
              <a:solidFill>
                <a:srgbClr val="1B3866"/>
              </a:solidFill>
              <a:latin typeface="Avenir Black" charset="0"/>
              <a:ea typeface="Avenir Black" charset="0"/>
              <a:cs typeface="Avenir Black" charset="0"/>
            </a:endParaRPr>
          </a:p>
          <a:p>
            <a:r>
              <a:rPr lang="en-US" sz="2800" dirty="0" err="1" smtClean="0">
                <a:solidFill>
                  <a:srgbClr val="173866"/>
                </a:solidFill>
                <a:latin typeface="Avenir Roman" charset="0"/>
                <a:ea typeface="Avenir Roman" charset="0"/>
                <a:cs typeface="Avenir Roman" charset="0"/>
              </a:rPr>
              <a:t>www.bankmantap.co.id</a:t>
            </a:r>
            <a:endParaRPr lang="en-US" sz="2800" dirty="0">
              <a:solidFill>
                <a:srgbClr val="173866"/>
              </a:solidFill>
              <a:latin typeface="Avenir Roman" charset="0"/>
              <a:ea typeface="Avenir Roman" charset="0"/>
              <a:cs typeface="Avenir Roman" charset="0"/>
            </a:endParaRPr>
          </a:p>
        </p:txBody>
      </p:sp>
      <p:grpSp>
        <p:nvGrpSpPr>
          <p:cNvPr id="5" name="Group 8"/>
          <p:cNvGrpSpPr/>
          <p:nvPr/>
        </p:nvGrpSpPr>
        <p:grpSpPr>
          <a:xfrm>
            <a:off x="8556171" y="114300"/>
            <a:ext cx="3380015" cy="1706880"/>
            <a:chOff x="8556171" y="114300"/>
            <a:chExt cx="3380015" cy="1706880"/>
          </a:xfrm>
        </p:grpSpPr>
        <p:sp>
          <p:nvSpPr>
            <p:cNvPr id="10" name="Rectangle 9"/>
            <p:cNvSpPr/>
            <p:nvPr/>
          </p:nvSpPr>
          <p:spPr>
            <a:xfrm>
              <a:off x="8556171" y="114300"/>
              <a:ext cx="3380015" cy="17068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9296729" y="331470"/>
              <a:ext cx="2481453" cy="1272540"/>
            </a:xfrm>
            <a:prstGeom prst="rect">
              <a:avLst/>
            </a:prstGeom>
          </p:spPr>
        </p:pic>
      </p:grp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l="32709" t="14260" r="6916" b="7534"/>
          <a:stretch/>
        </p:blipFill>
        <p:spPr>
          <a:xfrm>
            <a:off x="-118533" y="-2808"/>
            <a:ext cx="12310533" cy="640500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-1072684" y="-1632079"/>
            <a:ext cx="14551345" cy="9705109"/>
          </a:xfrm>
          <a:prstGeom prst="rect">
            <a:avLst/>
          </a:prstGeom>
        </p:spPr>
      </p:pic>
      <p:sp>
        <p:nvSpPr>
          <p:cNvPr id="26626" name="Rectangle 15"/>
          <p:cNvSpPr>
            <a:spLocks noChangeArrowheads="1"/>
          </p:cNvSpPr>
          <p:nvPr/>
        </p:nvSpPr>
        <p:spPr bwMode="auto">
          <a:xfrm>
            <a:off x="138113" y="3600450"/>
            <a:ext cx="7959725" cy="1938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4000" b="0" i="0" u="none" strike="noStrike" cap="none" normalizeH="0" baseline="0" dirty="0" err="1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Arial Black" pitchFamily="34" charset="0"/>
                <a:cs typeface="Arial" pitchFamily="34" charset="0"/>
              </a:rPr>
              <a:t>Budaya</a:t>
            </a:r>
            <a:r>
              <a:rPr kumimoji="0" lang="en-AU" sz="4000" b="0" i="0" u="none" strike="noStrike" cap="none" normalizeH="0" baseline="0" dirty="0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Arial Black" pitchFamily="34" charset="0"/>
                <a:cs typeface="Arial" pitchFamily="34" charset="0"/>
              </a:rPr>
              <a:t> </a:t>
            </a:r>
            <a:r>
              <a:rPr kumimoji="0" lang="en-AU" sz="4000" b="0" i="0" u="none" strike="noStrike" cap="none" normalizeH="0" baseline="0" dirty="0" err="1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Arial Black" pitchFamily="34" charset="0"/>
                <a:cs typeface="Arial" pitchFamily="34" charset="0"/>
              </a:rPr>
              <a:t>Mantap</a:t>
            </a:r>
            <a:r>
              <a:rPr kumimoji="0" lang="en-AU" sz="4000" b="0" i="0" u="none" strike="noStrike" cap="none" normalizeH="0" baseline="0" dirty="0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Arial Black" pitchFamily="34" charset="0"/>
                <a:cs typeface="Arial" pitchFamily="34" charset="0"/>
              </a:rPr>
              <a:t> </a:t>
            </a:r>
            <a:r>
              <a:rPr kumimoji="0" lang="en-AU" sz="4000" b="0" i="0" u="none" strike="noStrike" cap="none" normalizeH="0" baseline="0" dirty="0" err="1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Arial Black" pitchFamily="34" charset="0"/>
                <a:cs typeface="Arial" pitchFamily="34" charset="0"/>
              </a:rPr>
              <a:t>Sempurna</a:t>
            </a:r>
            <a:r>
              <a:rPr kumimoji="0" lang="en-AU" sz="4000" b="0" i="0" u="none" strike="noStrike" cap="none" normalizeH="0" baseline="0" dirty="0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Arial Black" pitchFamily="34" charset="0"/>
                <a:cs typeface="Arial" pitchFamily="34" charset="0"/>
              </a:rPr>
              <a:t> </a:t>
            </a:r>
            <a:r>
              <a:rPr kumimoji="0" lang="en-AU" sz="4000" b="1" i="1" u="sng" strike="noStrike" cap="none" normalizeH="0" baseline="0" dirty="0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Corbel" pitchFamily="34" charset="0"/>
                <a:cs typeface="Arial" pitchFamily="34" charset="0"/>
              </a:rPr>
              <a:t>(</a:t>
            </a:r>
            <a:r>
              <a:rPr kumimoji="0" lang="en-AU" sz="4000" b="1" i="1" u="sng" strike="noStrike" cap="none" normalizeH="0" baseline="0" dirty="0" err="1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Corbel" pitchFamily="34" charset="0"/>
                <a:cs typeface="Arial" pitchFamily="34" charset="0"/>
              </a:rPr>
              <a:t>Semangat</a:t>
            </a:r>
            <a:r>
              <a:rPr kumimoji="0" lang="en-AU" sz="4000" b="1" i="1" u="sng" strike="noStrike" cap="none" normalizeH="0" baseline="0" dirty="0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AU" sz="4000" b="1" i="1" u="sng" strike="noStrike" cap="none" normalizeH="0" baseline="0" dirty="0" err="1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Corbel" pitchFamily="34" charset="0"/>
                <a:cs typeface="Arial" pitchFamily="34" charset="0"/>
              </a:rPr>
              <a:t>Mensejahterahkan</a:t>
            </a:r>
            <a:r>
              <a:rPr kumimoji="0" lang="en-AU" sz="4000" b="1" i="1" u="sng" strike="noStrike" cap="none" normalizeH="0" baseline="0" dirty="0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AU" sz="4000" b="1" i="1" u="sng" strike="noStrike" cap="none" normalizeH="0" baseline="0" dirty="0" err="1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Corbel" pitchFamily="34" charset="0"/>
                <a:cs typeface="Arial" pitchFamily="34" charset="0"/>
              </a:rPr>
              <a:t>Purna</a:t>
            </a:r>
            <a:r>
              <a:rPr kumimoji="0" lang="en-AU" sz="4000" b="1" i="1" u="sng" strike="noStrike" cap="none" normalizeH="0" baseline="0" dirty="0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Corbel" pitchFamily="34" charset="0"/>
                <a:cs typeface="Arial" pitchFamily="34" charset="0"/>
              </a:rPr>
              <a:t> </a:t>
            </a:r>
            <a:r>
              <a:rPr kumimoji="0" lang="en-AU" sz="4000" b="1" i="1" u="sng" strike="noStrike" cap="none" normalizeH="0" baseline="0" dirty="0" err="1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Corbel" pitchFamily="34" charset="0"/>
                <a:cs typeface="Arial" pitchFamily="34" charset="0"/>
              </a:rPr>
              <a:t>Bakti</a:t>
            </a:r>
            <a:r>
              <a:rPr kumimoji="0" lang="en-AU" sz="4000" b="1" i="1" u="sng" strike="noStrike" cap="none" normalizeH="0" baseline="0" dirty="0" smtClean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latin typeface="Corbel" pitchFamily="34" charset="0"/>
                <a:cs typeface="Arial" pitchFamily="34" charset="0"/>
              </a:rPr>
              <a:t>)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33020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5652915" y="4663604"/>
            <a:ext cx="200757" cy="228600"/>
          </a:xfrm>
          <a:custGeom>
            <a:avLst/>
            <a:gdLst>
              <a:gd name="T0" fmla="*/ 67 w 143"/>
              <a:gd name="T1" fmla="*/ 13 h 130"/>
              <a:gd name="T2" fmla="*/ 9 w 143"/>
              <a:gd name="T3" fmla="*/ 75 h 130"/>
              <a:gd name="T4" fmla="*/ 5 w 143"/>
              <a:gd name="T5" fmla="*/ 129 h 130"/>
              <a:gd name="T6" fmla="*/ 125 w 143"/>
              <a:gd name="T7" fmla="*/ 106 h 130"/>
              <a:gd name="T8" fmla="*/ 143 w 143"/>
              <a:gd name="T9" fmla="*/ 40 h 130"/>
              <a:gd name="T10" fmla="*/ 112 w 143"/>
              <a:gd name="T11" fmla="*/ 0 h 130"/>
              <a:gd name="T12" fmla="*/ 80 w 143"/>
              <a:gd name="T13" fmla="*/ 9 h 130"/>
              <a:gd name="T14" fmla="*/ 67 w 143"/>
              <a:gd name="T15" fmla="*/ 18 h 130"/>
              <a:gd name="T16" fmla="*/ 67 w 143"/>
              <a:gd name="T17" fmla="*/ 13 h 1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43"/>
              <a:gd name="T28" fmla="*/ 0 h 130"/>
              <a:gd name="T29" fmla="*/ 143 w 143"/>
              <a:gd name="T30" fmla="*/ 130 h 13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43" h="130">
                <a:moveTo>
                  <a:pt x="67" y="13"/>
                </a:moveTo>
                <a:cubicBezTo>
                  <a:pt x="46" y="34"/>
                  <a:pt x="26" y="50"/>
                  <a:pt x="9" y="75"/>
                </a:cubicBezTo>
                <a:cubicBezTo>
                  <a:pt x="2" y="99"/>
                  <a:pt x="0" y="101"/>
                  <a:pt x="5" y="129"/>
                </a:cubicBezTo>
                <a:cubicBezTo>
                  <a:pt x="47" y="126"/>
                  <a:pt x="90" y="130"/>
                  <a:pt x="125" y="106"/>
                </a:cubicBezTo>
                <a:cubicBezTo>
                  <a:pt x="129" y="68"/>
                  <a:pt x="132" y="69"/>
                  <a:pt x="143" y="40"/>
                </a:cubicBezTo>
                <a:cubicBezTo>
                  <a:pt x="138" y="11"/>
                  <a:pt x="138" y="8"/>
                  <a:pt x="112" y="0"/>
                </a:cubicBezTo>
                <a:cubicBezTo>
                  <a:pt x="103" y="2"/>
                  <a:pt x="89" y="4"/>
                  <a:pt x="80" y="9"/>
                </a:cubicBezTo>
                <a:cubicBezTo>
                  <a:pt x="75" y="11"/>
                  <a:pt x="72" y="16"/>
                  <a:pt x="67" y="18"/>
                </a:cubicBezTo>
                <a:cubicBezTo>
                  <a:pt x="65" y="18"/>
                  <a:pt x="67" y="15"/>
                  <a:pt x="67" y="13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5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1869289" y="1350495"/>
            <a:ext cx="1970942" cy="2881313"/>
          </a:xfrm>
          <a:custGeom>
            <a:avLst/>
            <a:gdLst>
              <a:gd name="T0" fmla="*/ 1272 w 1397"/>
              <a:gd name="T1" fmla="*/ 1596 h 1642"/>
              <a:gd name="T2" fmla="*/ 1339 w 1397"/>
              <a:gd name="T3" fmla="*/ 1578 h 1642"/>
              <a:gd name="T4" fmla="*/ 1383 w 1397"/>
              <a:gd name="T5" fmla="*/ 1560 h 1642"/>
              <a:gd name="T6" fmla="*/ 1397 w 1397"/>
              <a:gd name="T7" fmla="*/ 1293 h 1642"/>
              <a:gd name="T8" fmla="*/ 1290 w 1397"/>
              <a:gd name="T9" fmla="*/ 1125 h 1642"/>
              <a:gd name="T10" fmla="*/ 1214 w 1397"/>
              <a:gd name="T11" fmla="*/ 1151 h 1642"/>
              <a:gd name="T12" fmla="*/ 1219 w 1397"/>
              <a:gd name="T13" fmla="*/ 1125 h 1642"/>
              <a:gd name="T14" fmla="*/ 1192 w 1397"/>
              <a:gd name="T15" fmla="*/ 1045 h 1642"/>
              <a:gd name="T16" fmla="*/ 1068 w 1397"/>
              <a:gd name="T17" fmla="*/ 907 h 1642"/>
              <a:gd name="T18" fmla="*/ 1099 w 1397"/>
              <a:gd name="T19" fmla="*/ 827 h 1642"/>
              <a:gd name="T20" fmla="*/ 1068 w 1397"/>
              <a:gd name="T21" fmla="*/ 742 h 1642"/>
              <a:gd name="T22" fmla="*/ 997 w 1397"/>
              <a:gd name="T23" fmla="*/ 773 h 1642"/>
              <a:gd name="T24" fmla="*/ 1005 w 1397"/>
              <a:gd name="T25" fmla="*/ 742 h 1642"/>
              <a:gd name="T26" fmla="*/ 983 w 1397"/>
              <a:gd name="T27" fmla="*/ 720 h 1642"/>
              <a:gd name="T28" fmla="*/ 890 w 1397"/>
              <a:gd name="T29" fmla="*/ 671 h 1642"/>
              <a:gd name="T30" fmla="*/ 805 w 1397"/>
              <a:gd name="T31" fmla="*/ 573 h 1642"/>
              <a:gd name="T32" fmla="*/ 748 w 1397"/>
              <a:gd name="T33" fmla="*/ 498 h 1642"/>
              <a:gd name="T34" fmla="*/ 641 w 1397"/>
              <a:gd name="T35" fmla="*/ 453 h 1642"/>
              <a:gd name="T36" fmla="*/ 574 w 1397"/>
              <a:gd name="T37" fmla="*/ 387 h 1642"/>
              <a:gd name="T38" fmla="*/ 414 w 1397"/>
              <a:gd name="T39" fmla="*/ 262 h 1642"/>
              <a:gd name="T40" fmla="*/ 357 w 1397"/>
              <a:gd name="T41" fmla="*/ 187 h 1642"/>
              <a:gd name="T42" fmla="*/ 321 w 1397"/>
              <a:gd name="T43" fmla="*/ 142 h 1642"/>
              <a:gd name="T44" fmla="*/ 121 w 1397"/>
              <a:gd name="T45" fmla="*/ 102 h 1642"/>
              <a:gd name="T46" fmla="*/ 23 w 1397"/>
              <a:gd name="T47" fmla="*/ 0 h 1642"/>
              <a:gd name="T48" fmla="*/ 10 w 1397"/>
              <a:gd name="T49" fmla="*/ 89 h 1642"/>
              <a:gd name="T50" fmla="*/ 32 w 1397"/>
              <a:gd name="T51" fmla="*/ 200 h 1642"/>
              <a:gd name="T52" fmla="*/ 161 w 1397"/>
              <a:gd name="T53" fmla="*/ 307 h 1642"/>
              <a:gd name="T54" fmla="*/ 268 w 1397"/>
              <a:gd name="T55" fmla="*/ 413 h 1642"/>
              <a:gd name="T56" fmla="*/ 308 w 1397"/>
              <a:gd name="T57" fmla="*/ 493 h 1642"/>
              <a:gd name="T58" fmla="*/ 441 w 1397"/>
              <a:gd name="T59" fmla="*/ 587 h 1642"/>
              <a:gd name="T60" fmla="*/ 481 w 1397"/>
              <a:gd name="T61" fmla="*/ 729 h 1642"/>
              <a:gd name="T62" fmla="*/ 579 w 1397"/>
              <a:gd name="T63" fmla="*/ 845 h 1642"/>
              <a:gd name="T64" fmla="*/ 672 w 1397"/>
              <a:gd name="T65" fmla="*/ 969 h 1642"/>
              <a:gd name="T66" fmla="*/ 699 w 1397"/>
              <a:gd name="T67" fmla="*/ 1013 h 1642"/>
              <a:gd name="T68" fmla="*/ 761 w 1397"/>
              <a:gd name="T69" fmla="*/ 1191 h 1642"/>
              <a:gd name="T70" fmla="*/ 925 w 1397"/>
              <a:gd name="T71" fmla="*/ 1338 h 1642"/>
              <a:gd name="T72" fmla="*/ 1072 w 1397"/>
              <a:gd name="T73" fmla="*/ 1471 h 1642"/>
              <a:gd name="T74" fmla="*/ 1165 w 1397"/>
              <a:gd name="T75" fmla="*/ 1542 h 1642"/>
              <a:gd name="T76" fmla="*/ 1232 w 1397"/>
              <a:gd name="T77" fmla="*/ 1640 h 1642"/>
              <a:gd name="T78" fmla="*/ 1241 w 1397"/>
              <a:gd name="T79" fmla="*/ 1600 h 1642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397"/>
              <a:gd name="T121" fmla="*/ 0 h 1642"/>
              <a:gd name="T122" fmla="*/ 1397 w 1397"/>
              <a:gd name="T123" fmla="*/ 1642 h 1642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397" h="1642">
                <a:moveTo>
                  <a:pt x="1214" y="1565"/>
                </a:moveTo>
                <a:cubicBezTo>
                  <a:pt x="1222" y="1587"/>
                  <a:pt x="1251" y="1588"/>
                  <a:pt x="1272" y="1596"/>
                </a:cubicBezTo>
                <a:cubicBezTo>
                  <a:pt x="1294" y="1588"/>
                  <a:pt x="1300" y="1568"/>
                  <a:pt x="1321" y="1560"/>
                </a:cubicBezTo>
                <a:cubicBezTo>
                  <a:pt x="1357" y="1574"/>
                  <a:pt x="1314" y="1554"/>
                  <a:pt x="1339" y="1578"/>
                </a:cubicBezTo>
                <a:cubicBezTo>
                  <a:pt x="1347" y="1586"/>
                  <a:pt x="1366" y="1596"/>
                  <a:pt x="1366" y="1596"/>
                </a:cubicBezTo>
                <a:cubicBezTo>
                  <a:pt x="1387" y="1588"/>
                  <a:pt x="1389" y="1582"/>
                  <a:pt x="1383" y="1560"/>
                </a:cubicBezTo>
                <a:cubicBezTo>
                  <a:pt x="1376" y="1508"/>
                  <a:pt x="1379" y="1472"/>
                  <a:pt x="1383" y="1418"/>
                </a:cubicBezTo>
                <a:cubicBezTo>
                  <a:pt x="1375" y="1376"/>
                  <a:pt x="1383" y="1333"/>
                  <a:pt x="1397" y="1293"/>
                </a:cubicBezTo>
                <a:cubicBezTo>
                  <a:pt x="1395" y="1266"/>
                  <a:pt x="1395" y="1240"/>
                  <a:pt x="1392" y="1213"/>
                </a:cubicBezTo>
                <a:cubicBezTo>
                  <a:pt x="1387" y="1163"/>
                  <a:pt x="1332" y="1134"/>
                  <a:pt x="1290" y="1125"/>
                </a:cubicBezTo>
                <a:cubicBezTo>
                  <a:pt x="1264" y="1128"/>
                  <a:pt x="1250" y="1129"/>
                  <a:pt x="1228" y="1138"/>
                </a:cubicBezTo>
                <a:cubicBezTo>
                  <a:pt x="1223" y="1142"/>
                  <a:pt x="1219" y="1147"/>
                  <a:pt x="1214" y="1151"/>
                </a:cubicBezTo>
                <a:cubicBezTo>
                  <a:pt x="1210" y="1154"/>
                  <a:pt x="1203" y="1160"/>
                  <a:pt x="1201" y="1156"/>
                </a:cubicBezTo>
                <a:cubicBezTo>
                  <a:pt x="1191" y="1136"/>
                  <a:pt x="1208" y="1131"/>
                  <a:pt x="1219" y="1125"/>
                </a:cubicBezTo>
                <a:cubicBezTo>
                  <a:pt x="1225" y="1104"/>
                  <a:pt x="1264" y="1081"/>
                  <a:pt x="1219" y="1067"/>
                </a:cubicBezTo>
                <a:cubicBezTo>
                  <a:pt x="1214" y="1064"/>
                  <a:pt x="1193" y="1052"/>
                  <a:pt x="1192" y="1045"/>
                </a:cubicBezTo>
                <a:cubicBezTo>
                  <a:pt x="1186" y="1010"/>
                  <a:pt x="1204" y="963"/>
                  <a:pt x="1179" y="938"/>
                </a:cubicBezTo>
                <a:cubicBezTo>
                  <a:pt x="1164" y="923"/>
                  <a:pt x="1094" y="921"/>
                  <a:pt x="1068" y="907"/>
                </a:cubicBezTo>
                <a:cubicBezTo>
                  <a:pt x="1048" y="876"/>
                  <a:pt x="1064" y="875"/>
                  <a:pt x="1090" y="867"/>
                </a:cubicBezTo>
                <a:cubicBezTo>
                  <a:pt x="1110" y="853"/>
                  <a:pt x="1106" y="861"/>
                  <a:pt x="1099" y="827"/>
                </a:cubicBezTo>
                <a:cubicBezTo>
                  <a:pt x="1097" y="816"/>
                  <a:pt x="1090" y="796"/>
                  <a:pt x="1090" y="796"/>
                </a:cubicBezTo>
                <a:cubicBezTo>
                  <a:pt x="1110" y="766"/>
                  <a:pt x="1102" y="752"/>
                  <a:pt x="1068" y="742"/>
                </a:cubicBezTo>
                <a:cubicBezTo>
                  <a:pt x="1044" y="746"/>
                  <a:pt x="1026" y="747"/>
                  <a:pt x="1005" y="760"/>
                </a:cubicBezTo>
                <a:cubicBezTo>
                  <a:pt x="1002" y="764"/>
                  <a:pt x="1002" y="772"/>
                  <a:pt x="997" y="773"/>
                </a:cubicBezTo>
                <a:cubicBezTo>
                  <a:pt x="976" y="778"/>
                  <a:pt x="983" y="752"/>
                  <a:pt x="988" y="747"/>
                </a:cubicBezTo>
                <a:cubicBezTo>
                  <a:pt x="992" y="743"/>
                  <a:pt x="999" y="744"/>
                  <a:pt x="1005" y="742"/>
                </a:cubicBezTo>
                <a:cubicBezTo>
                  <a:pt x="1007" y="738"/>
                  <a:pt x="1012" y="733"/>
                  <a:pt x="1010" y="729"/>
                </a:cubicBezTo>
                <a:cubicBezTo>
                  <a:pt x="1006" y="720"/>
                  <a:pt x="992" y="721"/>
                  <a:pt x="983" y="720"/>
                </a:cubicBezTo>
                <a:cubicBezTo>
                  <a:pt x="965" y="718"/>
                  <a:pt x="948" y="717"/>
                  <a:pt x="930" y="716"/>
                </a:cubicBezTo>
                <a:cubicBezTo>
                  <a:pt x="917" y="701"/>
                  <a:pt x="902" y="686"/>
                  <a:pt x="890" y="671"/>
                </a:cubicBezTo>
                <a:cubicBezTo>
                  <a:pt x="853" y="601"/>
                  <a:pt x="876" y="622"/>
                  <a:pt x="832" y="591"/>
                </a:cubicBezTo>
                <a:cubicBezTo>
                  <a:pt x="830" y="589"/>
                  <a:pt x="807" y="574"/>
                  <a:pt x="805" y="573"/>
                </a:cubicBezTo>
                <a:cubicBezTo>
                  <a:pt x="796" y="570"/>
                  <a:pt x="779" y="565"/>
                  <a:pt x="779" y="565"/>
                </a:cubicBezTo>
                <a:cubicBezTo>
                  <a:pt x="771" y="542"/>
                  <a:pt x="773" y="506"/>
                  <a:pt x="748" y="498"/>
                </a:cubicBezTo>
                <a:cubicBezTo>
                  <a:pt x="723" y="505"/>
                  <a:pt x="718" y="524"/>
                  <a:pt x="694" y="529"/>
                </a:cubicBezTo>
                <a:cubicBezTo>
                  <a:pt x="666" y="509"/>
                  <a:pt x="670" y="473"/>
                  <a:pt x="641" y="453"/>
                </a:cubicBezTo>
                <a:cubicBezTo>
                  <a:pt x="638" y="451"/>
                  <a:pt x="611" y="445"/>
                  <a:pt x="610" y="445"/>
                </a:cubicBezTo>
                <a:cubicBezTo>
                  <a:pt x="601" y="420"/>
                  <a:pt x="602" y="395"/>
                  <a:pt x="574" y="387"/>
                </a:cubicBezTo>
                <a:cubicBezTo>
                  <a:pt x="537" y="347"/>
                  <a:pt x="494" y="328"/>
                  <a:pt x="450" y="298"/>
                </a:cubicBezTo>
                <a:cubicBezTo>
                  <a:pt x="441" y="292"/>
                  <a:pt x="416" y="263"/>
                  <a:pt x="414" y="262"/>
                </a:cubicBezTo>
                <a:cubicBezTo>
                  <a:pt x="404" y="258"/>
                  <a:pt x="393" y="259"/>
                  <a:pt x="383" y="258"/>
                </a:cubicBezTo>
                <a:cubicBezTo>
                  <a:pt x="389" y="215"/>
                  <a:pt x="400" y="200"/>
                  <a:pt x="357" y="187"/>
                </a:cubicBezTo>
                <a:cubicBezTo>
                  <a:pt x="355" y="177"/>
                  <a:pt x="357" y="165"/>
                  <a:pt x="352" y="156"/>
                </a:cubicBezTo>
                <a:cubicBezTo>
                  <a:pt x="349" y="151"/>
                  <a:pt x="327" y="145"/>
                  <a:pt x="321" y="142"/>
                </a:cubicBezTo>
                <a:cubicBezTo>
                  <a:pt x="269" y="114"/>
                  <a:pt x="254" y="115"/>
                  <a:pt x="183" y="111"/>
                </a:cubicBezTo>
                <a:cubicBezTo>
                  <a:pt x="136" y="101"/>
                  <a:pt x="206" y="115"/>
                  <a:pt x="121" y="102"/>
                </a:cubicBezTo>
                <a:cubicBezTo>
                  <a:pt x="94" y="98"/>
                  <a:pt x="86" y="61"/>
                  <a:pt x="63" y="49"/>
                </a:cubicBezTo>
                <a:cubicBezTo>
                  <a:pt x="47" y="31"/>
                  <a:pt x="46" y="9"/>
                  <a:pt x="23" y="0"/>
                </a:cubicBezTo>
                <a:cubicBezTo>
                  <a:pt x="0" y="8"/>
                  <a:pt x="5" y="18"/>
                  <a:pt x="1" y="49"/>
                </a:cubicBezTo>
                <a:cubicBezTo>
                  <a:pt x="6" y="58"/>
                  <a:pt x="10" y="89"/>
                  <a:pt x="10" y="89"/>
                </a:cubicBezTo>
                <a:cubicBezTo>
                  <a:pt x="15" y="106"/>
                  <a:pt x="11" y="117"/>
                  <a:pt x="5" y="133"/>
                </a:cubicBezTo>
                <a:cubicBezTo>
                  <a:pt x="9" y="172"/>
                  <a:pt x="4" y="181"/>
                  <a:pt x="32" y="200"/>
                </a:cubicBezTo>
                <a:cubicBezTo>
                  <a:pt x="38" y="208"/>
                  <a:pt x="39" y="219"/>
                  <a:pt x="45" y="227"/>
                </a:cubicBezTo>
                <a:cubicBezTo>
                  <a:pt x="76" y="267"/>
                  <a:pt x="111" y="296"/>
                  <a:pt x="161" y="307"/>
                </a:cubicBezTo>
                <a:cubicBezTo>
                  <a:pt x="182" y="321"/>
                  <a:pt x="199" y="336"/>
                  <a:pt x="219" y="351"/>
                </a:cubicBezTo>
                <a:cubicBezTo>
                  <a:pt x="226" y="376"/>
                  <a:pt x="248" y="397"/>
                  <a:pt x="268" y="413"/>
                </a:cubicBezTo>
                <a:cubicBezTo>
                  <a:pt x="281" y="424"/>
                  <a:pt x="299" y="453"/>
                  <a:pt x="299" y="453"/>
                </a:cubicBezTo>
                <a:cubicBezTo>
                  <a:pt x="303" y="466"/>
                  <a:pt x="303" y="480"/>
                  <a:pt x="308" y="493"/>
                </a:cubicBezTo>
                <a:cubicBezTo>
                  <a:pt x="319" y="524"/>
                  <a:pt x="369" y="546"/>
                  <a:pt x="397" y="556"/>
                </a:cubicBezTo>
                <a:cubicBezTo>
                  <a:pt x="411" y="567"/>
                  <a:pt x="441" y="587"/>
                  <a:pt x="441" y="587"/>
                </a:cubicBezTo>
                <a:cubicBezTo>
                  <a:pt x="450" y="615"/>
                  <a:pt x="458" y="644"/>
                  <a:pt x="468" y="671"/>
                </a:cubicBezTo>
                <a:cubicBezTo>
                  <a:pt x="470" y="688"/>
                  <a:pt x="472" y="713"/>
                  <a:pt x="481" y="729"/>
                </a:cubicBezTo>
                <a:cubicBezTo>
                  <a:pt x="486" y="738"/>
                  <a:pt x="499" y="756"/>
                  <a:pt x="499" y="756"/>
                </a:cubicBezTo>
                <a:cubicBezTo>
                  <a:pt x="509" y="790"/>
                  <a:pt x="555" y="821"/>
                  <a:pt x="579" y="845"/>
                </a:cubicBezTo>
                <a:cubicBezTo>
                  <a:pt x="609" y="875"/>
                  <a:pt x="620" y="916"/>
                  <a:pt x="654" y="942"/>
                </a:cubicBezTo>
                <a:cubicBezTo>
                  <a:pt x="660" y="951"/>
                  <a:pt x="667" y="959"/>
                  <a:pt x="672" y="969"/>
                </a:cubicBezTo>
                <a:cubicBezTo>
                  <a:pt x="675" y="975"/>
                  <a:pt x="677" y="981"/>
                  <a:pt x="681" y="987"/>
                </a:cubicBezTo>
                <a:cubicBezTo>
                  <a:pt x="687" y="996"/>
                  <a:pt x="699" y="1013"/>
                  <a:pt x="699" y="1013"/>
                </a:cubicBezTo>
                <a:cubicBezTo>
                  <a:pt x="704" y="1032"/>
                  <a:pt x="715" y="1047"/>
                  <a:pt x="721" y="1067"/>
                </a:cubicBezTo>
                <a:cubicBezTo>
                  <a:pt x="726" y="1104"/>
                  <a:pt x="728" y="1168"/>
                  <a:pt x="761" y="1191"/>
                </a:cubicBezTo>
                <a:cubicBezTo>
                  <a:pt x="772" y="1208"/>
                  <a:pt x="789" y="1225"/>
                  <a:pt x="805" y="1236"/>
                </a:cubicBezTo>
                <a:cubicBezTo>
                  <a:pt x="833" y="1276"/>
                  <a:pt x="882" y="1315"/>
                  <a:pt x="925" y="1338"/>
                </a:cubicBezTo>
                <a:cubicBezTo>
                  <a:pt x="942" y="1383"/>
                  <a:pt x="1020" y="1436"/>
                  <a:pt x="1063" y="1458"/>
                </a:cubicBezTo>
                <a:cubicBezTo>
                  <a:pt x="1066" y="1462"/>
                  <a:pt x="1068" y="1468"/>
                  <a:pt x="1072" y="1471"/>
                </a:cubicBezTo>
                <a:cubicBezTo>
                  <a:pt x="1076" y="1474"/>
                  <a:pt x="1085" y="1476"/>
                  <a:pt x="1085" y="1476"/>
                </a:cubicBezTo>
                <a:cubicBezTo>
                  <a:pt x="1116" y="1499"/>
                  <a:pt x="1137" y="1522"/>
                  <a:pt x="1165" y="1542"/>
                </a:cubicBezTo>
                <a:cubicBezTo>
                  <a:pt x="1170" y="1557"/>
                  <a:pt x="1193" y="1612"/>
                  <a:pt x="1205" y="1622"/>
                </a:cubicBezTo>
                <a:cubicBezTo>
                  <a:pt x="1213" y="1629"/>
                  <a:pt x="1232" y="1640"/>
                  <a:pt x="1232" y="1640"/>
                </a:cubicBezTo>
                <a:cubicBezTo>
                  <a:pt x="1242" y="1639"/>
                  <a:pt x="1254" y="1642"/>
                  <a:pt x="1263" y="1636"/>
                </a:cubicBezTo>
                <a:cubicBezTo>
                  <a:pt x="1273" y="1630"/>
                  <a:pt x="1245" y="1603"/>
                  <a:pt x="1241" y="1600"/>
                </a:cubicBezTo>
                <a:cubicBezTo>
                  <a:pt x="1221" y="1570"/>
                  <a:pt x="1231" y="1580"/>
                  <a:pt x="1214" y="1565"/>
                </a:cubicBezTo>
                <a:close/>
              </a:path>
            </a:pathLst>
          </a:custGeom>
          <a:solidFill>
            <a:srgbClr val="8EB4E3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6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76106" y="3455519"/>
            <a:ext cx="388326" cy="500063"/>
          </a:xfrm>
          <a:custGeom>
            <a:avLst/>
            <a:gdLst>
              <a:gd name="T0" fmla="*/ 206 w 275"/>
              <a:gd name="T1" fmla="*/ 57 h 285"/>
              <a:gd name="T2" fmla="*/ 221 w 275"/>
              <a:gd name="T3" fmla="*/ 99 h 285"/>
              <a:gd name="T4" fmla="*/ 239 w 275"/>
              <a:gd name="T5" fmla="*/ 111 h 285"/>
              <a:gd name="T6" fmla="*/ 263 w 275"/>
              <a:gd name="T7" fmla="*/ 144 h 285"/>
              <a:gd name="T8" fmla="*/ 275 w 275"/>
              <a:gd name="T9" fmla="*/ 174 h 285"/>
              <a:gd name="T10" fmla="*/ 272 w 275"/>
              <a:gd name="T11" fmla="*/ 210 h 285"/>
              <a:gd name="T12" fmla="*/ 245 w 275"/>
              <a:gd name="T13" fmla="*/ 222 h 285"/>
              <a:gd name="T14" fmla="*/ 191 w 275"/>
              <a:gd name="T15" fmla="*/ 219 h 285"/>
              <a:gd name="T16" fmla="*/ 173 w 275"/>
              <a:gd name="T17" fmla="*/ 267 h 285"/>
              <a:gd name="T18" fmla="*/ 161 w 275"/>
              <a:gd name="T19" fmla="*/ 285 h 285"/>
              <a:gd name="T20" fmla="*/ 119 w 275"/>
              <a:gd name="T21" fmla="*/ 273 h 285"/>
              <a:gd name="T22" fmla="*/ 80 w 275"/>
              <a:gd name="T23" fmla="*/ 228 h 285"/>
              <a:gd name="T24" fmla="*/ 83 w 275"/>
              <a:gd name="T25" fmla="*/ 171 h 285"/>
              <a:gd name="T26" fmla="*/ 20 w 275"/>
              <a:gd name="T27" fmla="*/ 126 h 285"/>
              <a:gd name="T28" fmla="*/ 14 w 275"/>
              <a:gd name="T29" fmla="*/ 114 h 285"/>
              <a:gd name="T30" fmla="*/ 68 w 275"/>
              <a:gd name="T31" fmla="*/ 21 h 285"/>
              <a:gd name="T32" fmla="*/ 92 w 275"/>
              <a:gd name="T33" fmla="*/ 0 h 285"/>
              <a:gd name="T34" fmla="*/ 149 w 275"/>
              <a:gd name="T35" fmla="*/ 9 h 285"/>
              <a:gd name="T36" fmla="*/ 185 w 275"/>
              <a:gd name="T37" fmla="*/ 36 h 285"/>
              <a:gd name="T38" fmla="*/ 197 w 275"/>
              <a:gd name="T39" fmla="*/ 57 h 285"/>
              <a:gd name="T40" fmla="*/ 200 w 275"/>
              <a:gd name="T41" fmla="*/ 66 h 285"/>
              <a:gd name="T42" fmla="*/ 206 w 275"/>
              <a:gd name="T43" fmla="*/ 57 h 28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275"/>
              <a:gd name="T67" fmla="*/ 0 h 285"/>
              <a:gd name="T68" fmla="*/ 275 w 275"/>
              <a:gd name="T69" fmla="*/ 285 h 285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275" h="285">
                <a:moveTo>
                  <a:pt x="206" y="57"/>
                </a:moveTo>
                <a:cubicBezTo>
                  <a:pt x="208" y="66"/>
                  <a:pt x="213" y="91"/>
                  <a:pt x="221" y="99"/>
                </a:cubicBezTo>
                <a:cubicBezTo>
                  <a:pt x="226" y="104"/>
                  <a:pt x="239" y="111"/>
                  <a:pt x="239" y="111"/>
                </a:cubicBezTo>
                <a:cubicBezTo>
                  <a:pt x="248" y="124"/>
                  <a:pt x="249" y="135"/>
                  <a:pt x="263" y="144"/>
                </a:cubicBezTo>
                <a:cubicBezTo>
                  <a:pt x="267" y="155"/>
                  <a:pt x="272" y="163"/>
                  <a:pt x="275" y="174"/>
                </a:cubicBezTo>
                <a:cubicBezTo>
                  <a:pt x="274" y="186"/>
                  <a:pt x="275" y="198"/>
                  <a:pt x="272" y="210"/>
                </a:cubicBezTo>
                <a:cubicBezTo>
                  <a:pt x="269" y="219"/>
                  <a:pt x="245" y="222"/>
                  <a:pt x="245" y="222"/>
                </a:cubicBezTo>
                <a:cubicBezTo>
                  <a:pt x="221" y="218"/>
                  <a:pt x="217" y="216"/>
                  <a:pt x="191" y="219"/>
                </a:cubicBezTo>
                <a:cubicBezTo>
                  <a:pt x="186" y="235"/>
                  <a:pt x="182" y="252"/>
                  <a:pt x="173" y="267"/>
                </a:cubicBezTo>
                <a:cubicBezTo>
                  <a:pt x="169" y="273"/>
                  <a:pt x="161" y="285"/>
                  <a:pt x="161" y="285"/>
                </a:cubicBezTo>
                <a:cubicBezTo>
                  <a:pt x="142" y="283"/>
                  <a:pt x="134" y="283"/>
                  <a:pt x="119" y="273"/>
                </a:cubicBezTo>
                <a:cubicBezTo>
                  <a:pt x="107" y="256"/>
                  <a:pt x="98" y="240"/>
                  <a:pt x="80" y="228"/>
                </a:cubicBezTo>
                <a:cubicBezTo>
                  <a:pt x="67" y="208"/>
                  <a:pt x="73" y="191"/>
                  <a:pt x="83" y="171"/>
                </a:cubicBezTo>
                <a:cubicBezTo>
                  <a:pt x="76" y="134"/>
                  <a:pt x="54" y="133"/>
                  <a:pt x="20" y="126"/>
                </a:cubicBezTo>
                <a:cubicBezTo>
                  <a:pt x="18" y="122"/>
                  <a:pt x="14" y="118"/>
                  <a:pt x="14" y="114"/>
                </a:cubicBezTo>
                <a:cubicBezTo>
                  <a:pt x="11" y="14"/>
                  <a:pt x="0" y="28"/>
                  <a:pt x="68" y="21"/>
                </a:cubicBezTo>
                <a:cubicBezTo>
                  <a:pt x="84" y="17"/>
                  <a:pt x="88" y="16"/>
                  <a:pt x="92" y="0"/>
                </a:cubicBezTo>
                <a:cubicBezTo>
                  <a:pt x="113" y="2"/>
                  <a:pt x="129" y="6"/>
                  <a:pt x="149" y="9"/>
                </a:cubicBezTo>
                <a:cubicBezTo>
                  <a:pt x="161" y="17"/>
                  <a:pt x="175" y="24"/>
                  <a:pt x="185" y="36"/>
                </a:cubicBezTo>
                <a:cubicBezTo>
                  <a:pt x="189" y="41"/>
                  <a:pt x="194" y="51"/>
                  <a:pt x="197" y="57"/>
                </a:cubicBezTo>
                <a:cubicBezTo>
                  <a:pt x="198" y="60"/>
                  <a:pt x="197" y="66"/>
                  <a:pt x="200" y="66"/>
                </a:cubicBezTo>
                <a:cubicBezTo>
                  <a:pt x="204" y="66"/>
                  <a:pt x="204" y="60"/>
                  <a:pt x="206" y="57"/>
                </a:cubicBezTo>
                <a:close/>
              </a:path>
            </a:pathLst>
          </a:custGeom>
          <a:solidFill>
            <a:srgbClr val="FFCD0F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7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3384499" y="3657129"/>
            <a:ext cx="483577" cy="176212"/>
          </a:xfrm>
          <a:custGeom>
            <a:avLst/>
            <a:gdLst>
              <a:gd name="T0" fmla="*/ 0 w 326"/>
              <a:gd name="T1" fmla="*/ 92 h 101"/>
              <a:gd name="T2" fmla="*/ 87 w 326"/>
              <a:gd name="T3" fmla="*/ 80 h 101"/>
              <a:gd name="T4" fmla="*/ 203 w 326"/>
              <a:gd name="T5" fmla="*/ 0 h 101"/>
              <a:gd name="T6" fmla="*/ 270 w 326"/>
              <a:gd name="T7" fmla="*/ 5 h 101"/>
              <a:gd name="T8" fmla="*/ 287 w 326"/>
              <a:gd name="T9" fmla="*/ 14 h 10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26"/>
              <a:gd name="T16" fmla="*/ 0 h 101"/>
              <a:gd name="T17" fmla="*/ 326 w 326"/>
              <a:gd name="T18" fmla="*/ 101 h 10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26" h="101">
                <a:moveTo>
                  <a:pt x="0" y="92"/>
                </a:moveTo>
                <a:cubicBezTo>
                  <a:pt x="28" y="101"/>
                  <a:pt x="64" y="96"/>
                  <a:pt x="87" y="80"/>
                </a:cubicBezTo>
                <a:cubicBezTo>
                  <a:pt x="116" y="39"/>
                  <a:pt x="158" y="17"/>
                  <a:pt x="203" y="0"/>
                </a:cubicBezTo>
                <a:cubicBezTo>
                  <a:pt x="225" y="2"/>
                  <a:pt x="248" y="1"/>
                  <a:pt x="270" y="5"/>
                </a:cubicBezTo>
                <a:cubicBezTo>
                  <a:pt x="326" y="15"/>
                  <a:pt x="267" y="14"/>
                  <a:pt x="287" y="14"/>
                </a:cubicBezTo>
              </a:path>
            </a:pathLst>
          </a:custGeom>
          <a:solidFill>
            <a:srgbClr val="08205C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8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900920" y="2998320"/>
            <a:ext cx="150934" cy="334963"/>
          </a:xfrm>
          <a:custGeom>
            <a:avLst/>
            <a:gdLst>
              <a:gd name="T0" fmla="*/ 107 w 107"/>
              <a:gd name="T1" fmla="*/ 0 h 191"/>
              <a:gd name="T2" fmla="*/ 67 w 107"/>
              <a:gd name="T3" fmla="*/ 53 h 191"/>
              <a:gd name="T4" fmla="*/ 40 w 107"/>
              <a:gd name="T5" fmla="*/ 71 h 191"/>
              <a:gd name="T6" fmla="*/ 22 w 107"/>
              <a:gd name="T7" fmla="*/ 98 h 191"/>
              <a:gd name="T8" fmla="*/ 14 w 107"/>
              <a:gd name="T9" fmla="*/ 125 h 191"/>
              <a:gd name="T10" fmla="*/ 0 w 107"/>
              <a:gd name="T11" fmla="*/ 191 h 19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07"/>
              <a:gd name="T19" fmla="*/ 0 h 191"/>
              <a:gd name="T20" fmla="*/ 107 w 107"/>
              <a:gd name="T21" fmla="*/ 191 h 19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07" h="191">
                <a:moveTo>
                  <a:pt x="107" y="0"/>
                </a:moveTo>
                <a:cubicBezTo>
                  <a:pt x="98" y="13"/>
                  <a:pt x="78" y="46"/>
                  <a:pt x="67" y="53"/>
                </a:cubicBezTo>
                <a:cubicBezTo>
                  <a:pt x="58" y="59"/>
                  <a:pt x="40" y="71"/>
                  <a:pt x="40" y="71"/>
                </a:cubicBezTo>
                <a:cubicBezTo>
                  <a:pt x="34" y="80"/>
                  <a:pt x="25" y="88"/>
                  <a:pt x="22" y="98"/>
                </a:cubicBezTo>
                <a:cubicBezTo>
                  <a:pt x="19" y="107"/>
                  <a:pt x="14" y="125"/>
                  <a:pt x="14" y="125"/>
                </a:cubicBezTo>
                <a:cubicBezTo>
                  <a:pt x="17" y="140"/>
                  <a:pt x="26" y="191"/>
                  <a:pt x="0" y="191"/>
                </a:cubicBezTo>
              </a:path>
            </a:pathLst>
          </a:custGeom>
          <a:solidFill>
            <a:srgbClr val="08205C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9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5459484" y="4647729"/>
            <a:ext cx="177311" cy="188912"/>
          </a:xfrm>
          <a:custGeom>
            <a:avLst/>
            <a:gdLst>
              <a:gd name="T0" fmla="*/ 40 w 126"/>
              <a:gd name="T1" fmla="*/ 53 h 107"/>
              <a:gd name="T2" fmla="*/ 0 w 126"/>
              <a:gd name="T3" fmla="*/ 22 h 107"/>
              <a:gd name="T4" fmla="*/ 31 w 126"/>
              <a:gd name="T5" fmla="*/ 0 h 107"/>
              <a:gd name="T6" fmla="*/ 115 w 126"/>
              <a:gd name="T7" fmla="*/ 27 h 107"/>
              <a:gd name="T8" fmla="*/ 97 w 126"/>
              <a:gd name="T9" fmla="*/ 75 h 107"/>
              <a:gd name="T10" fmla="*/ 71 w 126"/>
              <a:gd name="T11" fmla="*/ 93 h 107"/>
              <a:gd name="T12" fmla="*/ 57 w 126"/>
              <a:gd name="T13" fmla="*/ 102 h 107"/>
              <a:gd name="T14" fmla="*/ 40 w 126"/>
              <a:gd name="T15" fmla="*/ 62 h 107"/>
              <a:gd name="T16" fmla="*/ 26 w 126"/>
              <a:gd name="T17" fmla="*/ 58 h 107"/>
              <a:gd name="T18" fmla="*/ 40 w 126"/>
              <a:gd name="T19" fmla="*/ 53 h 10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26"/>
              <a:gd name="T31" fmla="*/ 0 h 107"/>
              <a:gd name="T32" fmla="*/ 126 w 126"/>
              <a:gd name="T33" fmla="*/ 107 h 107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26" h="107">
                <a:moveTo>
                  <a:pt x="40" y="53"/>
                </a:moveTo>
                <a:cubicBezTo>
                  <a:pt x="15" y="49"/>
                  <a:pt x="7" y="46"/>
                  <a:pt x="0" y="22"/>
                </a:cubicBezTo>
                <a:cubicBezTo>
                  <a:pt x="6" y="4"/>
                  <a:pt x="13" y="5"/>
                  <a:pt x="31" y="0"/>
                </a:cubicBezTo>
                <a:cubicBezTo>
                  <a:pt x="63" y="4"/>
                  <a:pt x="85" y="16"/>
                  <a:pt x="115" y="27"/>
                </a:cubicBezTo>
                <a:cubicBezTo>
                  <a:pt x="126" y="55"/>
                  <a:pt x="122" y="59"/>
                  <a:pt x="97" y="75"/>
                </a:cubicBezTo>
                <a:cubicBezTo>
                  <a:pt x="88" y="81"/>
                  <a:pt x="80" y="87"/>
                  <a:pt x="71" y="93"/>
                </a:cubicBezTo>
                <a:cubicBezTo>
                  <a:pt x="66" y="96"/>
                  <a:pt x="57" y="102"/>
                  <a:pt x="57" y="102"/>
                </a:cubicBezTo>
                <a:cubicBezTo>
                  <a:pt x="26" y="93"/>
                  <a:pt x="60" y="107"/>
                  <a:pt x="40" y="62"/>
                </a:cubicBezTo>
                <a:cubicBezTo>
                  <a:pt x="38" y="58"/>
                  <a:pt x="26" y="63"/>
                  <a:pt x="26" y="58"/>
                </a:cubicBezTo>
                <a:cubicBezTo>
                  <a:pt x="26" y="53"/>
                  <a:pt x="35" y="55"/>
                  <a:pt x="40" y="53"/>
                </a:cubicBezTo>
                <a:close/>
              </a:path>
            </a:pathLst>
          </a:custGeom>
          <a:solidFill>
            <a:srgbClr val="08205C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0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5871254" y="4663608"/>
            <a:ext cx="435220" cy="217487"/>
          </a:xfrm>
          <a:custGeom>
            <a:avLst/>
            <a:gdLst>
              <a:gd name="T0" fmla="*/ 63 w 308"/>
              <a:gd name="T1" fmla="*/ 53 h 124"/>
              <a:gd name="T2" fmla="*/ 5 w 308"/>
              <a:gd name="T3" fmla="*/ 75 h 124"/>
              <a:gd name="T4" fmla="*/ 41 w 308"/>
              <a:gd name="T5" fmla="*/ 98 h 124"/>
              <a:gd name="T6" fmla="*/ 45 w 308"/>
              <a:gd name="T7" fmla="*/ 111 h 124"/>
              <a:gd name="T8" fmla="*/ 72 w 308"/>
              <a:gd name="T9" fmla="*/ 124 h 124"/>
              <a:gd name="T10" fmla="*/ 214 w 308"/>
              <a:gd name="T11" fmla="*/ 111 h 124"/>
              <a:gd name="T12" fmla="*/ 294 w 308"/>
              <a:gd name="T13" fmla="*/ 98 h 124"/>
              <a:gd name="T14" fmla="*/ 285 w 308"/>
              <a:gd name="T15" fmla="*/ 62 h 124"/>
              <a:gd name="T16" fmla="*/ 285 w 308"/>
              <a:gd name="T17" fmla="*/ 26 h 124"/>
              <a:gd name="T18" fmla="*/ 259 w 308"/>
              <a:gd name="T19" fmla="*/ 18 h 124"/>
              <a:gd name="T20" fmla="*/ 134 w 308"/>
              <a:gd name="T21" fmla="*/ 0 h 124"/>
              <a:gd name="T22" fmla="*/ 112 w 308"/>
              <a:gd name="T23" fmla="*/ 4 h 124"/>
              <a:gd name="T24" fmla="*/ 134 w 308"/>
              <a:gd name="T25" fmla="*/ 44 h 124"/>
              <a:gd name="T26" fmla="*/ 148 w 308"/>
              <a:gd name="T27" fmla="*/ 58 h 124"/>
              <a:gd name="T28" fmla="*/ 134 w 308"/>
              <a:gd name="T29" fmla="*/ 66 h 124"/>
              <a:gd name="T30" fmla="*/ 63 w 308"/>
              <a:gd name="T31" fmla="*/ 53 h 124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308"/>
              <a:gd name="T49" fmla="*/ 0 h 124"/>
              <a:gd name="T50" fmla="*/ 308 w 308"/>
              <a:gd name="T51" fmla="*/ 124 h 124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308" h="124">
                <a:moveTo>
                  <a:pt x="63" y="53"/>
                </a:moveTo>
                <a:cubicBezTo>
                  <a:pt x="36" y="56"/>
                  <a:pt x="15" y="50"/>
                  <a:pt x="5" y="75"/>
                </a:cubicBezTo>
                <a:cubicBezTo>
                  <a:pt x="15" y="112"/>
                  <a:pt x="0" y="77"/>
                  <a:pt x="41" y="98"/>
                </a:cubicBezTo>
                <a:cubicBezTo>
                  <a:pt x="45" y="100"/>
                  <a:pt x="42" y="107"/>
                  <a:pt x="45" y="111"/>
                </a:cubicBezTo>
                <a:cubicBezTo>
                  <a:pt x="52" y="119"/>
                  <a:pt x="63" y="121"/>
                  <a:pt x="72" y="124"/>
                </a:cubicBezTo>
                <a:cubicBezTo>
                  <a:pt x="122" y="122"/>
                  <a:pt x="166" y="117"/>
                  <a:pt x="214" y="111"/>
                </a:cubicBezTo>
                <a:cubicBezTo>
                  <a:pt x="240" y="104"/>
                  <a:pt x="267" y="101"/>
                  <a:pt x="294" y="98"/>
                </a:cubicBezTo>
                <a:cubicBezTo>
                  <a:pt x="306" y="80"/>
                  <a:pt x="308" y="69"/>
                  <a:pt x="285" y="62"/>
                </a:cubicBezTo>
                <a:cubicBezTo>
                  <a:pt x="289" y="51"/>
                  <a:pt x="297" y="38"/>
                  <a:pt x="285" y="26"/>
                </a:cubicBezTo>
                <a:cubicBezTo>
                  <a:pt x="279" y="20"/>
                  <a:pt x="259" y="18"/>
                  <a:pt x="259" y="18"/>
                </a:cubicBezTo>
                <a:cubicBezTo>
                  <a:pt x="212" y="27"/>
                  <a:pt x="177" y="12"/>
                  <a:pt x="134" y="0"/>
                </a:cubicBezTo>
                <a:cubicBezTo>
                  <a:pt x="127" y="1"/>
                  <a:pt x="118" y="0"/>
                  <a:pt x="112" y="4"/>
                </a:cubicBezTo>
                <a:cubicBezTo>
                  <a:pt x="81" y="22"/>
                  <a:pt x="120" y="40"/>
                  <a:pt x="134" y="44"/>
                </a:cubicBezTo>
                <a:cubicBezTo>
                  <a:pt x="139" y="49"/>
                  <a:pt x="148" y="51"/>
                  <a:pt x="148" y="58"/>
                </a:cubicBezTo>
                <a:cubicBezTo>
                  <a:pt x="148" y="63"/>
                  <a:pt x="139" y="66"/>
                  <a:pt x="134" y="66"/>
                </a:cubicBezTo>
                <a:cubicBezTo>
                  <a:pt x="111" y="66"/>
                  <a:pt x="87" y="53"/>
                  <a:pt x="63" y="53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1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668781" y="4141316"/>
            <a:ext cx="684334" cy="465138"/>
          </a:xfrm>
          <a:custGeom>
            <a:avLst/>
            <a:gdLst>
              <a:gd name="T0" fmla="*/ 22 w 485"/>
              <a:gd name="T1" fmla="*/ 100 h 265"/>
              <a:gd name="T2" fmla="*/ 74 w 485"/>
              <a:gd name="T3" fmla="*/ 92 h 265"/>
              <a:gd name="T4" fmla="*/ 86 w 485"/>
              <a:gd name="T5" fmla="*/ 48 h 265"/>
              <a:gd name="T6" fmla="*/ 126 w 485"/>
              <a:gd name="T7" fmla="*/ 0 h 265"/>
              <a:gd name="T8" fmla="*/ 298 w 485"/>
              <a:gd name="T9" fmla="*/ 28 h 265"/>
              <a:gd name="T10" fmla="*/ 390 w 485"/>
              <a:gd name="T11" fmla="*/ 60 h 265"/>
              <a:gd name="T12" fmla="*/ 446 w 485"/>
              <a:gd name="T13" fmla="*/ 88 h 265"/>
              <a:gd name="T14" fmla="*/ 482 w 485"/>
              <a:gd name="T15" fmla="*/ 116 h 265"/>
              <a:gd name="T16" fmla="*/ 454 w 485"/>
              <a:gd name="T17" fmla="*/ 168 h 265"/>
              <a:gd name="T18" fmla="*/ 462 w 485"/>
              <a:gd name="T19" fmla="*/ 200 h 265"/>
              <a:gd name="T20" fmla="*/ 474 w 485"/>
              <a:gd name="T21" fmla="*/ 244 h 265"/>
              <a:gd name="T22" fmla="*/ 442 w 485"/>
              <a:gd name="T23" fmla="*/ 256 h 265"/>
              <a:gd name="T24" fmla="*/ 418 w 485"/>
              <a:gd name="T25" fmla="*/ 264 h 265"/>
              <a:gd name="T26" fmla="*/ 342 w 485"/>
              <a:gd name="T27" fmla="*/ 260 h 265"/>
              <a:gd name="T28" fmla="*/ 310 w 485"/>
              <a:gd name="T29" fmla="*/ 228 h 265"/>
              <a:gd name="T30" fmla="*/ 206 w 485"/>
              <a:gd name="T31" fmla="*/ 220 h 265"/>
              <a:gd name="T32" fmla="*/ 166 w 485"/>
              <a:gd name="T33" fmla="*/ 200 h 265"/>
              <a:gd name="T34" fmla="*/ 170 w 485"/>
              <a:gd name="T35" fmla="*/ 168 h 265"/>
              <a:gd name="T36" fmla="*/ 182 w 485"/>
              <a:gd name="T37" fmla="*/ 160 h 265"/>
              <a:gd name="T38" fmla="*/ 138 w 485"/>
              <a:gd name="T39" fmla="*/ 132 h 265"/>
              <a:gd name="T40" fmla="*/ 94 w 485"/>
              <a:gd name="T41" fmla="*/ 136 h 265"/>
              <a:gd name="T42" fmla="*/ 58 w 485"/>
              <a:gd name="T43" fmla="*/ 148 h 265"/>
              <a:gd name="T44" fmla="*/ 22 w 485"/>
              <a:gd name="T45" fmla="*/ 100 h 26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485"/>
              <a:gd name="T70" fmla="*/ 0 h 265"/>
              <a:gd name="T71" fmla="*/ 485 w 485"/>
              <a:gd name="T72" fmla="*/ 265 h 265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485" h="265">
                <a:moveTo>
                  <a:pt x="22" y="100"/>
                </a:moveTo>
                <a:cubicBezTo>
                  <a:pt x="42" y="107"/>
                  <a:pt x="57" y="103"/>
                  <a:pt x="74" y="92"/>
                </a:cubicBezTo>
                <a:cubicBezTo>
                  <a:pt x="81" y="70"/>
                  <a:pt x="77" y="84"/>
                  <a:pt x="86" y="48"/>
                </a:cubicBezTo>
                <a:cubicBezTo>
                  <a:pt x="88" y="40"/>
                  <a:pt x="120" y="10"/>
                  <a:pt x="126" y="0"/>
                </a:cubicBezTo>
                <a:cubicBezTo>
                  <a:pt x="185" y="6"/>
                  <a:pt x="239" y="24"/>
                  <a:pt x="298" y="28"/>
                </a:cubicBezTo>
                <a:cubicBezTo>
                  <a:pt x="326" y="42"/>
                  <a:pt x="358" y="54"/>
                  <a:pt x="390" y="60"/>
                </a:cubicBezTo>
                <a:cubicBezTo>
                  <a:pt x="408" y="73"/>
                  <a:pt x="429" y="74"/>
                  <a:pt x="446" y="88"/>
                </a:cubicBezTo>
                <a:cubicBezTo>
                  <a:pt x="458" y="98"/>
                  <a:pt x="482" y="116"/>
                  <a:pt x="482" y="116"/>
                </a:cubicBezTo>
                <a:cubicBezTo>
                  <a:pt x="478" y="155"/>
                  <a:pt x="485" y="158"/>
                  <a:pt x="454" y="168"/>
                </a:cubicBezTo>
                <a:cubicBezTo>
                  <a:pt x="444" y="184"/>
                  <a:pt x="443" y="194"/>
                  <a:pt x="462" y="200"/>
                </a:cubicBezTo>
                <a:cubicBezTo>
                  <a:pt x="472" y="215"/>
                  <a:pt x="479" y="221"/>
                  <a:pt x="474" y="244"/>
                </a:cubicBezTo>
                <a:cubicBezTo>
                  <a:pt x="472" y="253"/>
                  <a:pt x="444" y="255"/>
                  <a:pt x="442" y="256"/>
                </a:cubicBezTo>
                <a:cubicBezTo>
                  <a:pt x="434" y="258"/>
                  <a:pt x="418" y="264"/>
                  <a:pt x="418" y="264"/>
                </a:cubicBezTo>
                <a:cubicBezTo>
                  <a:pt x="393" y="263"/>
                  <a:pt x="367" y="265"/>
                  <a:pt x="342" y="260"/>
                </a:cubicBezTo>
                <a:cubicBezTo>
                  <a:pt x="333" y="258"/>
                  <a:pt x="324" y="231"/>
                  <a:pt x="310" y="228"/>
                </a:cubicBezTo>
                <a:cubicBezTo>
                  <a:pt x="304" y="227"/>
                  <a:pt x="208" y="220"/>
                  <a:pt x="206" y="220"/>
                </a:cubicBezTo>
                <a:cubicBezTo>
                  <a:pt x="169" y="211"/>
                  <a:pt x="180" y="221"/>
                  <a:pt x="166" y="200"/>
                </a:cubicBezTo>
                <a:cubicBezTo>
                  <a:pt x="167" y="189"/>
                  <a:pt x="166" y="178"/>
                  <a:pt x="170" y="168"/>
                </a:cubicBezTo>
                <a:cubicBezTo>
                  <a:pt x="172" y="164"/>
                  <a:pt x="180" y="164"/>
                  <a:pt x="182" y="160"/>
                </a:cubicBezTo>
                <a:cubicBezTo>
                  <a:pt x="188" y="145"/>
                  <a:pt x="147" y="135"/>
                  <a:pt x="138" y="132"/>
                </a:cubicBezTo>
                <a:cubicBezTo>
                  <a:pt x="123" y="133"/>
                  <a:pt x="109" y="133"/>
                  <a:pt x="94" y="136"/>
                </a:cubicBezTo>
                <a:cubicBezTo>
                  <a:pt x="82" y="138"/>
                  <a:pt x="58" y="148"/>
                  <a:pt x="58" y="148"/>
                </a:cubicBezTo>
                <a:cubicBezTo>
                  <a:pt x="0" y="136"/>
                  <a:pt x="22" y="152"/>
                  <a:pt x="22" y="100"/>
                </a:cubicBezTo>
                <a:close/>
              </a:path>
            </a:pathLst>
          </a:custGeom>
          <a:solidFill>
            <a:srgbClr val="08205C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2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276916" y="4274666"/>
            <a:ext cx="602274" cy="477838"/>
          </a:xfrm>
          <a:custGeom>
            <a:avLst/>
            <a:gdLst>
              <a:gd name="T0" fmla="*/ 43 w 427"/>
              <a:gd name="T1" fmla="*/ 32 h 272"/>
              <a:gd name="T2" fmla="*/ 135 w 427"/>
              <a:gd name="T3" fmla="*/ 40 h 272"/>
              <a:gd name="T4" fmla="*/ 227 w 427"/>
              <a:gd name="T5" fmla="*/ 40 h 272"/>
              <a:gd name="T6" fmla="*/ 251 w 427"/>
              <a:gd name="T7" fmla="*/ 32 h 272"/>
              <a:gd name="T8" fmla="*/ 303 w 427"/>
              <a:gd name="T9" fmla="*/ 0 h 272"/>
              <a:gd name="T10" fmla="*/ 359 w 427"/>
              <a:gd name="T11" fmla="*/ 4 h 272"/>
              <a:gd name="T12" fmla="*/ 383 w 427"/>
              <a:gd name="T13" fmla="*/ 12 h 272"/>
              <a:gd name="T14" fmla="*/ 411 w 427"/>
              <a:gd name="T15" fmla="*/ 44 h 272"/>
              <a:gd name="T16" fmla="*/ 427 w 427"/>
              <a:gd name="T17" fmla="*/ 80 h 272"/>
              <a:gd name="T18" fmla="*/ 367 w 427"/>
              <a:gd name="T19" fmla="*/ 132 h 272"/>
              <a:gd name="T20" fmla="*/ 371 w 427"/>
              <a:gd name="T21" fmla="*/ 176 h 272"/>
              <a:gd name="T22" fmla="*/ 379 w 427"/>
              <a:gd name="T23" fmla="*/ 200 h 272"/>
              <a:gd name="T24" fmla="*/ 339 w 427"/>
              <a:gd name="T25" fmla="*/ 236 h 272"/>
              <a:gd name="T26" fmla="*/ 323 w 427"/>
              <a:gd name="T27" fmla="*/ 272 h 272"/>
              <a:gd name="T28" fmla="*/ 279 w 427"/>
              <a:gd name="T29" fmla="*/ 268 h 272"/>
              <a:gd name="T30" fmla="*/ 267 w 427"/>
              <a:gd name="T31" fmla="*/ 244 h 272"/>
              <a:gd name="T32" fmla="*/ 191 w 427"/>
              <a:gd name="T33" fmla="*/ 220 h 272"/>
              <a:gd name="T34" fmla="*/ 167 w 427"/>
              <a:gd name="T35" fmla="*/ 204 h 272"/>
              <a:gd name="T36" fmla="*/ 139 w 427"/>
              <a:gd name="T37" fmla="*/ 176 h 272"/>
              <a:gd name="T38" fmla="*/ 79 w 427"/>
              <a:gd name="T39" fmla="*/ 188 h 272"/>
              <a:gd name="T40" fmla="*/ 35 w 427"/>
              <a:gd name="T41" fmla="*/ 184 h 272"/>
              <a:gd name="T42" fmla="*/ 11 w 427"/>
              <a:gd name="T43" fmla="*/ 144 h 272"/>
              <a:gd name="T44" fmla="*/ 31 w 427"/>
              <a:gd name="T45" fmla="*/ 76 h 272"/>
              <a:gd name="T46" fmla="*/ 43 w 427"/>
              <a:gd name="T47" fmla="*/ 32 h 272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427"/>
              <a:gd name="T73" fmla="*/ 0 h 272"/>
              <a:gd name="T74" fmla="*/ 427 w 427"/>
              <a:gd name="T75" fmla="*/ 272 h 272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427" h="272">
                <a:moveTo>
                  <a:pt x="43" y="32"/>
                </a:moveTo>
                <a:cubicBezTo>
                  <a:pt x="66" y="78"/>
                  <a:pt x="97" y="46"/>
                  <a:pt x="135" y="40"/>
                </a:cubicBezTo>
                <a:cubicBezTo>
                  <a:pt x="176" y="44"/>
                  <a:pt x="182" y="47"/>
                  <a:pt x="227" y="40"/>
                </a:cubicBezTo>
                <a:cubicBezTo>
                  <a:pt x="235" y="39"/>
                  <a:pt x="251" y="32"/>
                  <a:pt x="251" y="32"/>
                </a:cubicBezTo>
                <a:cubicBezTo>
                  <a:pt x="274" y="9"/>
                  <a:pt x="269" y="7"/>
                  <a:pt x="303" y="0"/>
                </a:cubicBezTo>
                <a:cubicBezTo>
                  <a:pt x="322" y="1"/>
                  <a:pt x="340" y="1"/>
                  <a:pt x="359" y="4"/>
                </a:cubicBezTo>
                <a:cubicBezTo>
                  <a:pt x="367" y="5"/>
                  <a:pt x="383" y="12"/>
                  <a:pt x="383" y="12"/>
                </a:cubicBezTo>
                <a:cubicBezTo>
                  <a:pt x="402" y="40"/>
                  <a:pt x="391" y="31"/>
                  <a:pt x="411" y="44"/>
                </a:cubicBezTo>
                <a:cubicBezTo>
                  <a:pt x="415" y="57"/>
                  <a:pt x="423" y="67"/>
                  <a:pt x="427" y="80"/>
                </a:cubicBezTo>
                <a:cubicBezTo>
                  <a:pt x="421" y="98"/>
                  <a:pt x="384" y="120"/>
                  <a:pt x="367" y="132"/>
                </a:cubicBezTo>
                <a:cubicBezTo>
                  <a:pt x="368" y="147"/>
                  <a:pt x="368" y="161"/>
                  <a:pt x="371" y="176"/>
                </a:cubicBezTo>
                <a:cubicBezTo>
                  <a:pt x="372" y="184"/>
                  <a:pt x="379" y="200"/>
                  <a:pt x="379" y="200"/>
                </a:cubicBezTo>
                <a:cubicBezTo>
                  <a:pt x="373" y="225"/>
                  <a:pt x="358" y="223"/>
                  <a:pt x="339" y="236"/>
                </a:cubicBezTo>
                <a:cubicBezTo>
                  <a:pt x="335" y="249"/>
                  <a:pt x="327" y="259"/>
                  <a:pt x="323" y="272"/>
                </a:cubicBezTo>
                <a:cubicBezTo>
                  <a:pt x="308" y="271"/>
                  <a:pt x="293" y="272"/>
                  <a:pt x="279" y="268"/>
                </a:cubicBezTo>
                <a:cubicBezTo>
                  <a:pt x="268" y="265"/>
                  <a:pt x="273" y="250"/>
                  <a:pt x="267" y="244"/>
                </a:cubicBezTo>
                <a:cubicBezTo>
                  <a:pt x="251" y="228"/>
                  <a:pt x="210" y="222"/>
                  <a:pt x="191" y="220"/>
                </a:cubicBezTo>
                <a:cubicBezTo>
                  <a:pt x="183" y="215"/>
                  <a:pt x="170" y="213"/>
                  <a:pt x="167" y="204"/>
                </a:cubicBezTo>
                <a:cubicBezTo>
                  <a:pt x="161" y="185"/>
                  <a:pt x="159" y="181"/>
                  <a:pt x="139" y="176"/>
                </a:cubicBezTo>
                <a:cubicBezTo>
                  <a:pt x="117" y="179"/>
                  <a:pt x="99" y="181"/>
                  <a:pt x="79" y="188"/>
                </a:cubicBezTo>
                <a:cubicBezTo>
                  <a:pt x="64" y="187"/>
                  <a:pt x="49" y="188"/>
                  <a:pt x="35" y="184"/>
                </a:cubicBezTo>
                <a:cubicBezTo>
                  <a:pt x="17" y="178"/>
                  <a:pt x="39" y="153"/>
                  <a:pt x="11" y="144"/>
                </a:cubicBezTo>
                <a:cubicBezTo>
                  <a:pt x="0" y="112"/>
                  <a:pt x="1" y="96"/>
                  <a:pt x="31" y="76"/>
                </a:cubicBezTo>
                <a:cubicBezTo>
                  <a:pt x="37" y="57"/>
                  <a:pt x="43" y="53"/>
                  <a:pt x="43" y="32"/>
                </a:cubicBezTo>
                <a:close/>
              </a:path>
            </a:pathLst>
          </a:custGeom>
          <a:solidFill>
            <a:srgbClr val="08205C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3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1738871" y="1364783"/>
            <a:ext cx="86458" cy="85725"/>
          </a:xfrm>
          <a:custGeom>
            <a:avLst/>
            <a:gdLst>
              <a:gd name="T0" fmla="*/ 0 w 62"/>
              <a:gd name="T1" fmla="*/ 0 h 49"/>
              <a:gd name="T2" fmla="*/ 31 w 62"/>
              <a:gd name="T3" fmla="*/ 49 h 49"/>
              <a:gd name="T4" fmla="*/ 0 w 62"/>
              <a:gd name="T5" fmla="*/ 0 h 49"/>
              <a:gd name="T6" fmla="*/ 0 60000 65536"/>
              <a:gd name="T7" fmla="*/ 0 60000 65536"/>
              <a:gd name="T8" fmla="*/ 0 60000 65536"/>
              <a:gd name="T9" fmla="*/ 0 w 62"/>
              <a:gd name="T10" fmla="*/ 0 h 49"/>
              <a:gd name="T11" fmla="*/ 62 w 62"/>
              <a:gd name="T12" fmla="*/ 49 h 4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2" h="49">
                <a:moveTo>
                  <a:pt x="0" y="0"/>
                </a:moveTo>
                <a:cubicBezTo>
                  <a:pt x="7" y="22"/>
                  <a:pt x="7" y="40"/>
                  <a:pt x="31" y="49"/>
                </a:cubicBezTo>
                <a:cubicBezTo>
                  <a:pt x="62" y="28"/>
                  <a:pt x="23" y="0"/>
                  <a:pt x="0" y="0"/>
                </a:cubicBezTo>
                <a:close/>
              </a:path>
            </a:pathLst>
          </a:custGeom>
          <a:solidFill>
            <a:srgbClr val="B2B2B2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4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873687" y="1352080"/>
            <a:ext cx="546589" cy="1017587"/>
          </a:xfrm>
          <a:custGeom>
            <a:avLst/>
            <a:gdLst>
              <a:gd name="T0" fmla="*/ 344 w 387"/>
              <a:gd name="T1" fmla="*/ 533 h 580"/>
              <a:gd name="T2" fmla="*/ 342 w 387"/>
              <a:gd name="T3" fmla="*/ 531 h 580"/>
              <a:gd name="T4" fmla="*/ 332 w 387"/>
              <a:gd name="T5" fmla="*/ 519 h 580"/>
              <a:gd name="T6" fmla="*/ 304 w 387"/>
              <a:gd name="T7" fmla="*/ 487 h 580"/>
              <a:gd name="T8" fmla="*/ 290 w 387"/>
              <a:gd name="T9" fmla="*/ 441 h 580"/>
              <a:gd name="T10" fmla="*/ 274 w 387"/>
              <a:gd name="T11" fmla="*/ 421 h 580"/>
              <a:gd name="T12" fmla="*/ 252 w 387"/>
              <a:gd name="T13" fmla="*/ 399 h 580"/>
              <a:gd name="T14" fmla="*/ 236 w 387"/>
              <a:gd name="T15" fmla="*/ 383 h 580"/>
              <a:gd name="T16" fmla="*/ 220 w 387"/>
              <a:gd name="T17" fmla="*/ 355 h 580"/>
              <a:gd name="T18" fmla="*/ 198 w 387"/>
              <a:gd name="T19" fmla="*/ 331 h 580"/>
              <a:gd name="T20" fmla="*/ 158 w 387"/>
              <a:gd name="T21" fmla="*/ 305 h 580"/>
              <a:gd name="T22" fmla="*/ 96 w 387"/>
              <a:gd name="T23" fmla="*/ 275 h 580"/>
              <a:gd name="T24" fmla="*/ 56 w 387"/>
              <a:gd name="T25" fmla="*/ 237 h 580"/>
              <a:gd name="T26" fmla="*/ 40 w 387"/>
              <a:gd name="T27" fmla="*/ 227 h 580"/>
              <a:gd name="T28" fmla="*/ 34 w 387"/>
              <a:gd name="T29" fmla="*/ 205 h 580"/>
              <a:gd name="T30" fmla="*/ 10 w 387"/>
              <a:gd name="T31" fmla="*/ 175 h 580"/>
              <a:gd name="T32" fmla="*/ 4 w 387"/>
              <a:gd name="T33" fmla="*/ 152 h 580"/>
              <a:gd name="T34" fmla="*/ 8 w 387"/>
              <a:gd name="T35" fmla="*/ 106 h 580"/>
              <a:gd name="T36" fmla="*/ 4 w 387"/>
              <a:gd name="T37" fmla="*/ 73 h 580"/>
              <a:gd name="T38" fmla="*/ 0 w 387"/>
              <a:gd name="T39" fmla="*/ 61 h 580"/>
              <a:gd name="T40" fmla="*/ 2 w 387"/>
              <a:gd name="T41" fmla="*/ 31 h 580"/>
              <a:gd name="T42" fmla="*/ 6 w 387"/>
              <a:gd name="T43" fmla="*/ 13 h 580"/>
              <a:gd name="T44" fmla="*/ 12 w 387"/>
              <a:gd name="T45" fmla="*/ 5 h 580"/>
              <a:gd name="T46" fmla="*/ 30 w 387"/>
              <a:gd name="T47" fmla="*/ 3 h 580"/>
              <a:gd name="T48" fmla="*/ 53 w 387"/>
              <a:gd name="T49" fmla="*/ 26 h 580"/>
              <a:gd name="T50" fmla="*/ 62 w 387"/>
              <a:gd name="T51" fmla="*/ 49 h 580"/>
              <a:gd name="T52" fmla="*/ 82 w 387"/>
              <a:gd name="T53" fmla="*/ 79 h 580"/>
              <a:gd name="T54" fmla="*/ 114 w 387"/>
              <a:gd name="T55" fmla="*/ 105 h 580"/>
              <a:gd name="T56" fmla="*/ 166 w 387"/>
              <a:gd name="T57" fmla="*/ 107 h 580"/>
              <a:gd name="T58" fmla="*/ 214 w 387"/>
              <a:gd name="T59" fmla="*/ 117 h 580"/>
              <a:gd name="T60" fmla="*/ 265 w 387"/>
              <a:gd name="T61" fmla="*/ 119 h 580"/>
              <a:gd name="T62" fmla="*/ 306 w 387"/>
              <a:gd name="T63" fmla="*/ 139 h 580"/>
              <a:gd name="T64" fmla="*/ 338 w 387"/>
              <a:gd name="T65" fmla="*/ 149 h 580"/>
              <a:gd name="T66" fmla="*/ 350 w 387"/>
              <a:gd name="T67" fmla="*/ 164 h 580"/>
              <a:gd name="T68" fmla="*/ 358 w 387"/>
              <a:gd name="T69" fmla="*/ 190 h 580"/>
              <a:gd name="T70" fmla="*/ 384 w 387"/>
              <a:gd name="T71" fmla="*/ 201 h 580"/>
              <a:gd name="T72" fmla="*/ 378 w 387"/>
              <a:gd name="T73" fmla="*/ 219 h 580"/>
              <a:gd name="T74" fmla="*/ 382 w 387"/>
              <a:gd name="T75" fmla="*/ 239 h 580"/>
              <a:gd name="T76" fmla="*/ 354 w 387"/>
              <a:gd name="T77" fmla="*/ 241 h 580"/>
              <a:gd name="T78" fmla="*/ 330 w 387"/>
              <a:gd name="T79" fmla="*/ 253 h 580"/>
              <a:gd name="T80" fmla="*/ 314 w 387"/>
              <a:gd name="T81" fmla="*/ 283 h 580"/>
              <a:gd name="T82" fmla="*/ 322 w 387"/>
              <a:gd name="T83" fmla="*/ 313 h 580"/>
              <a:gd name="T84" fmla="*/ 340 w 387"/>
              <a:gd name="T85" fmla="*/ 338 h 580"/>
              <a:gd name="T86" fmla="*/ 338 w 387"/>
              <a:gd name="T87" fmla="*/ 386 h 580"/>
              <a:gd name="T88" fmla="*/ 338 w 387"/>
              <a:gd name="T89" fmla="*/ 409 h 580"/>
              <a:gd name="T90" fmla="*/ 348 w 387"/>
              <a:gd name="T91" fmla="*/ 435 h 580"/>
              <a:gd name="T92" fmla="*/ 352 w 387"/>
              <a:gd name="T93" fmla="*/ 463 h 580"/>
              <a:gd name="T94" fmla="*/ 356 w 387"/>
              <a:gd name="T95" fmla="*/ 500 h 580"/>
              <a:gd name="T96" fmla="*/ 344 w 387"/>
              <a:gd name="T97" fmla="*/ 533 h 580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87"/>
              <a:gd name="T148" fmla="*/ 0 h 580"/>
              <a:gd name="T149" fmla="*/ 387 w 387"/>
              <a:gd name="T150" fmla="*/ 580 h 580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87" h="580">
                <a:moveTo>
                  <a:pt x="344" y="533"/>
                </a:moveTo>
                <a:cubicBezTo>
                  <a:pt x="338" y="580"/>
                  <a:pt x="344" y="533"/>
                  <a:pt x="342" y="531"/>
                </a:cubicBezTo>
                <a:cubicBezTo>
                  <a:pt x="340" y="529"/>
                  <a:pt x="338" y="526"/>
                  <a:pt x="332" y="519"/>
                </a:cubicBezTo>
                <a:cubicBezTo>
                  <a:pt x="326" y="512"/>
                  <a:pt x="311" y="500"/>
                  <a:pt x="304" y="487"/>
                </a:cubicBezTo>
                <a:cubicBezTo>
                  <a:pt x="297" y="474"/>
                  <a:pt x="295" y="452"/>
                  <a:pt x="290" y="441"/>
                </a:cubicBezTo>
                <a:cubicBezTo>
                  <a:pt x="285" y="430"/>
                  <a:pt x="280" y="428"/>
                  <a:pt x="274" y="421"/>
                </a:cubicBezTo>
                <a:cubicBezTo>
                  <a:pt x="268" y="414"/>
                  <a:pt x="258" y="405"/>
                  <a:pt x="252" y="399"/>
                </a:cubicBezTo>
                <a:cubicBezTo>
                  <a:pt x="246" y="393"/>
                  <a:pt x="241" y="390"/>
                  <a:pt x="236" y="383"/>
                </a:cubicBezTo>
                <a:cubicBezTo>
                  <a:pt x="231" y="376"/>
                  <a:pt x="226" y="364"/>
                  <a:pt x="220" y="355"/>
                </a:cubicBezTo>
                <a:cubicBezTo>
                  <a:pt x="214" y="346"/>
                  <a:pt x="208" y="339"/>
                  <a:pt x="198" y="331"/>
                </a:cubicBezTo>
                <a:cubicBezTo>
                  <a:pt x="188" y="323"/>
                  <a:pt x="175" y="314"/>
                  <a:pt x="158" y="305"/>
                </a:cubicBezTo>
                <a:cubicBezTo>
                  <a:pt x="141" y="296"/>
                  <a:pt x="113" y="286"/>
                  <a:pt x="96" y="275"/>
                </a:cubicBezTo>
                <a:cubicBezTo>
                  <a:pt x="79" y="264"/>
                  <a:pt x="65" y="245"/>
                  <a:pt x="56" y="237"/>
                </a:cubicBezTo>
                <a:cubicBezTo>
                  <a:pt x="47" y="229"/>
                  <a:pt x="44" y="232"/>
                  <a:pt x="40" y="227"/>
                </a:cubicBezTo>
                <a:cubicBezTo>
                  <a:pt x="36" y="222"/>
                  <a:pt x="39" y="214"/>
                  <a:pt x="34" y="205"/>
                </a:cubicBezTo>
                <a:cubicBezTo>
                  <a:pt x="29" y="196"/>
                  <a:pt x="15" y="184"/>
                  <a:pt x="10" y="175"/>
                </a:cubicBezTo>
                <a:cubicBezTo>
                  <a:pt x="5" y="166"/>
                  <a:pt x="4" y="163"/>
                  <a:pt x="4" y="152"/>
                </a:cubicBezTo>
                <a:cubicBezTo>
                  <a:pt x="4" y="141"/>
                  <a:pt x="8" y="119"/>
                  <a:pt x="8" y="106"/>
                </a:cubicBezTo>
                <a:cubicBezTo>
                  <a:pt x="8" y="93"/>
                  <a:pt x="5" y="80"/>
                  <a:pt x="4" y="73"/>
                </a:cubicBezTo>
                <a:cubicBezTo>
                  <a:pt x="3" y="69"/>
                  <a:pt x="0" y="61"/>
                  <a:pt x="0" y="61"/>
                </a:cubicBezTo>
                <a:cubicBezTo>
                  <a:pt x="1" y="51"/>
                  <a:pt x="1" y="41"/>
                  <a:pt x="2" y="31"/>
                </a:cubicBezTo>
                <a:cubicBezTo>
                  <a:pt x="3" y="27"/>
                  <a:pt x="2" y="14"/>
                  <a:pt x="6" y="13"/>
                </a:cubicBezTo>
                <a:cubicBezTo>
                  <a:pt x="8" y="11"/>
                  <a:pt x="8" y="5"/>
                  <a:pt x="12" y="5"/>
                </a:cubicBezTo>
                <a:cubicBezTo>
                  <a:pt x="16" y="3"/>
                  <a:pt x="23" y="0"/>
                  <a:pt x="30" y="3"/>
                </a:cubicBezTo>
                <a:cubicBezTo>
                  <a:pt x="35" y="7"/>
                  <a:pt x="48" y="18"/>
                  <a:pt x="53" y="26"/>
                </a:cubicBezTo>
                <a:cubicBezTo>
                  <a:pt x="58" y="34"/>
                  <a:pt x="57" y="40"/>
                  <a:pt x="62" y="49"/>
                </a:cubicBezTo>
                <a:cubicBezTo>
                  <a:pt x="69" y="57"/>
                  <a:pt x="73" y="70"/>
                  <a:pt x="82" y="79"/>
                </a:cubicBezTo>
                <a:cubicBezTo>
                  <a:pt x="91" y="88"/>
                  <a:pt x="100" y="100"/>
                  <a:pt x="114" y="105"/>
                </a:cubicBezTo>
                <a:cubicBezTo>
                  <a:pt x="128" y="110"/>
                  <a:pt x="149" y="105"/>
                  <a:pt x="166" y="107"/>
                </a:cubicBezTo>
                <a:cubicBezTo>
                  <a:pt x="183" y="109"/>
                  <a:pt x="198" y="115"/>
                  <a:pt x="214" y="117"/>
                </a:cubicBezTo>
                <a:cubicBezTo>
                  <a:pt x="230" y="119"/>
                  <a:pt x="250" y="115"/>
                  <a:pt x="265" y="119"/>
                </a:cubicBezTo>
                <a:cubicBezTo>
                  <a:pt x="280" y="123"/>
                  <a:pt x="294" y="134"/>
                  <a:pt x="306" y="139"/>
                </a:cubicBezTo>
                <a:cubicBezTo>
                  <a:pt x="318" y="144"/>
                  <a:pt x="331" y="145"/>
                  <a:pt x="338" y="149"/>
                </a:cubicBezTo>
                <a:cubicBezTo>
                  <a:pt x="345" y="153"/>
                  <a:pt x="347" y="157"/>
                  <a:pt x="350" y="164"/>
                </a:cubicBezTo>
                <a:cubicBezTo>
                  <a:pt x="353" y="171"/>
                  <a:pt x="352" y="184"/>
                  <a:pt x="358" y="190"/>
                </a:cubicBezTo>
                <a:cubicBezTo>
                  <a:pt x="364" y="196"/>
                  <a:pt x="381" y="196"/>
                  <a:pt x="384" y="201"/>
                </a:cubicBezTo>
                <a:cubicBezTo>
                  <a:pt x="387" y="206"/>
                  <a:pt x="378" y="213"/>
                  <a:pt x="378" y="219"/>
                </a:cubicBezTo>
                <a:cubicBezTo>
                  <a:pt x="378" y="225"/>
                  <a:pt x="386" y="235"/>
                  <a:pt x="382" y="239"/>
                </a:cubicBezTo>
                <a:cubicBezTo>
                  <a:pt x="378" y="243"/>
                  <a:pt x="363" y="239"/>
                  <a:pt x="354" y="241"/>
                </a:cubicBezTo>
                <a:cubicBezTo>
                  <a:pt x="345" y="243"/>
                  <a:pt x="337" y="246"/>
                  <a:pt x="330" y="253"/>
                </a:cubicBezTo>
                <a:cubicBezTo>
                  <a:pt x="323" y="260"/>
                  <a:pt x="315" y="273"/>
                  <a:pt x="314" y="283"/>
                </a:cubicBezTo>
                <a:cubicBezTo>
                  <a:pt x="313" y="293"/>
                  <a:pt x="318" y="304"/>
                  <a:pt x="322" y="313"/>
                </a:cubicBezTo>
                <a:cubicBezTo>
                  <a:pt x="326" y="322"/>
                  <a:pt x="337" y="326"/>
                  <a:pt x="340" y="338"/>
                </a:cubicBezTo>
                <a:cubicBezTo>
                  <a:pt x="343" y="350"/>
                  <a:pt x="338" y="374"/>
                  <a:pt x="338" y="386"/>
                </a:cubicBezTo>
                <a:cubicBezTo>
                  <a:pt x="338" y="398"/>
                  <a:pt x="336" y="401"/>
                  <a:pt x="338" y="409"/>
                </a:cubicBezTo>
                <a:cubicBezTo>
                  <a:pt x="340" y="417"/>
                  <a:pt x="346" y="426"/>
                  <a:pt x="348" y="435"/>
                </a:cubicBezTo>
                <a:cubicBezTo>
                  <a:pt x="350" y="444"/>
                  <a:pt x="351" y="452"/>
                  <a:pt x="352" y="463"/>
                </a:cubicBezTo>
                <a:cubicBezTo>
                  <a:pt x="353" y="474"/>
                  <a:pt x="357" y="488"/>
                  <a:pt x="356" y="500"/>
                </a:cubicBezTo>
                <a:cubicBezTo>
                  <a:pt x="355" y="512"/>
                  <a:pt x="346" y="526"/>
                  <a:pt x="344" y="533"/>
                </a:cubicBezTo>
                <a:close/>
              </a:path>
            </a:pathLst>
          </a:custGeom>
          <a:solidFill>
            <a:srgbClr val="95B3D7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5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2453979" y="2931645"/>
            <a:ext cx="131885" cy="233363"/>
          </a:xfrm>
          <a:custGeom>
            <a:avLst/>
            <a:gdLst>
              <a:gd name="T0" fmla="*/ 0 w 94"/>
              <a:gd name="T1" fmla="*/ 0 h 133"/>
              <a:gd name="T2" fmla="*/ 62 w 94"/>
              <a:gd name="T3" fmla="*/ 133 h 133"/>
              <a:gd name="T4" fmla="*/ 66 w 94"/>
              <a:gd name="T5" fmla="*/ 93 h 133"/>
              <a:gd name="T6" fmla="*/ 62 w 94"/>
              <a:gd name="T7" fmla="*/ 45 h 133"/>
              <a:gd name="T8" fmla="*/ 35 w 94"/>
              <a:gd name="T9" fmla="*/ 31 h 133"/>
              <a:gd name="T10" fmla="*/ 0 w 94"/>
              <a:gd name="T11" fmla="*/ 0 h 1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4"/>
              <a:gd name="T19" fmla="*/ 0 h 133"/>
              <a:gd name="T20" fmla="*/ 94 w 94"/>
              <a:gd name="T21" fmla="*/ 133 h 13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4" h="133">
                <a:moveTo>
                  <a:pt x="0" y="0"/>
                </a:moveTo>
                <a:cubicBezTo>
                  <a:pt x="7" y="50"/>
                  <a:pt x="3" y="115"/>
                  <a:pt x="62" y="133"/>
                </a:cubicBezTo>
                <a:cubicBezTo>
                  <a:pt x="94" y="126"/>
                  <a:pt x="90" y="109"/>
                  <a:pt x="66" y="93"/>
                </a:cubicBezTo>
                <a:cubicBezTo>
                  <a:pt x="65" y="77"/>
                  <a:pt x="67" y="60"/>
                  <a:pt x="62" y="45"/>
                </a:cubicBezTo>
                <a:cubicBezTo>
                  <a:pt x="60" y="37"/>
                  <a:pt x="40" y="34"/>
                  <a:pt x="35" y="31"/>
                </a:cubicBezTo>
                <a:cubicBezTo>
                  <a:pt x="9" y="16"/>
                  <a:pt x="13" y="19"/>
                  <a:pt x="0" y="0"/>
                </a:cubicBezTo>
                <a:close/>
              </a:path>
            </a:pathLst>
          </a:custGeom>
          <a:solidFill>
            <a:srgbClr val="75B2DD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6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2629825" y="3212633"/>
            <a:ext cx="86458" cy="117475"/>
          </a:xfrm>
          <a:custGeom>
            <a:avLst/>
            <a:gdLst>
              <a:gd name="T0" fmla="*/ 0 w 61"/>
              <a:gd name="T1" fmla="*/ 0 h 67"/>
              <a:gd name="T2" fmla="*/ 31 w 61"/>
              <a:gd name="T3" fmla="*/ 67 h 67"/>
              <a:gd name="T4" fmla="*/ 22 w 61"/>
              <a:gd name="T5" fmla="*/ 9 h 67"/>
              <a:gd name="T6" fmla="*/ 0 w 61"/>
              <a:gd name="T7" fmla="*/ 0 h 67"/>
              <a:gd name="T8" fmla="*/ 0 60000 65536"/>
              <a:gd name="T9" fmla="*/ 0 60000 65536"/>
              <a:gd name="T10" fmla="*/ 0 60000 65536"/>
              <a:gd name="T11" fmla="*/ 0 60000 65536"/>
              <a:gd name="T12" fmla="*/ 0 w 61"/>
              <a:gd name="T13" fmla="*/ 0 h 67"/>
              <a:gd name="T14" fmla="*/ 61 w 61"/>
              <a:gd name="T15" fmla="*/ 67 h 6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1" h="67">
                <a:moveTo>
                  <a:pt x="0" y="0"/>
                </a:moveTo>
                <a:cubicBezTo>
                  <a:pt x="8" y="26"/>
                  <a:pt x="12" y="48"/>
                  <a:pt x="31" y="67"/>
                </a:cubicBezTo>
                <a:cubicBezTo>
                  <a:pt x="61" y="55"/>
                  <a:pt x="44" y="23"/>
                  <a:pt x="22" y="9"/>
                </a:cubicBezTo>
                <a:cubicBezTo>
                  <a:pt x="15" y="5"/>
                  <a:pt x="7" y="4"/>
                  <a:pt x="0" y="0"/>
                </a:cubicBezTo>
                <a:close/>
              </a:path>
            </a:pathLst>
          </a:custGeom>
          <a:solidFill>
            <a:srgbClr val="75B2DD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7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3620423" y="3088808"/>
            <a:ext cx="404446" cy="409575"/>
          </a:xfrm>
          <a:custGeom>
            <a:avLst/>
            <a:gdLst>
              <a:gd name="T0" fmla="*/ 106 w 285"/>
              <a:gd name="T1" fmla="*/ 22 h 234"/>
              <a:gd name="T2" fmla="*/ 66 w 285"/>
              <a:gd name="T3" fmla="*/ 0 h 234"/>
              <a:gd name="T4" fmla="*/ 22 w 285"/>
              <a:gd name="T5" fmla="*/ 58 h 234"/>
              <a:gd name="T6" fmla="*/ 44 w 285"/>
              <a:gd name="T7" fmla="*/ 102 h 234"/>
              <a:gd name="T8" fmla="*/ 128 w 285"/>
              <a:gd name="T9" fmla="*/ 111 h 234"/>
              <a:gd name="T10" fmla="*/ 146 w 285"/>
              <a:gd name="T11" fmla="*/ 138 h 234"/>
              <a:gd name="T12" fmla="*/ 155 w 285"/>
              <a:gd name="T13" fmla="*/ 151 h 234"/>
              <a:gd name="T14" fmla="*/ 213 w 285"/>
              <a:gd name="T15" fmla="*/ 231 h 234"/>
              <a:gd name="T16" fmla="*/ 244 w 285"/>
              <a:gd name="T17" fmla="*/ 213 h 234"/>
              <a:gd name="T18" fmla="*/ 213 w 285"/>
              <a:gd name="T19" fmla="*/ 169 h 234"/>
              <a:gd name="T20" fmla="*/ 271 w 285"/>
              <a:gd name="T21" fmla="*/ 151 h 234"/>
              <a:gd name="T22" fmla="*/ 208 w 285"/>
              <a:gd name="T23" fmla="*/ 111 h 234"/>
              <a:gd name="T24" fmla="*/ 182 w 285"/>
              <a:gd name="T25" fmla="*/ 71 h 234"/>
              <a:gd name="T26" fmla="*/ 115 w 285"/>
              <a:gd name="T27" fmla="*/ 0 h 234"/>
              <a:gd name="T28" fmla="*/ 106 w 285"/>
              <a:gd name="T29" fmla="*/ 22 h 23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85"/>
              <a:gd name="T46" fmla="*/ 0 h 234"/>
              <a:gd name="T47" fmla="*/ 285 w 285"/>
              <a:gd name="T48" fmla="*/ 234 h 23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85" h="234">
                <a:moveTo>
                  <a:pt x="106" y="22"/>
                </a:moveTo>
                <a:cubicBezTo>
                  <a:pt x="75" y="1"/>
                  <a:pt x="89" y="7"/>
                  <a:pt x="66" y="0"/>
                </a:cubicBezTo>
                <a:cubicBezTo>
                  <a:pt x="15" y="11"/>
                  <a:pt x="60" y="43"/>
                  <a:pt x="22" y="58"/>
                </a:cubicBezTo>
                <a:cubicBezTo>
                  <a:pt x="0" y="90"/>
                  <a:pt x="17" y="94"/>
                  <a:pt x="44" y="102"/>
                </a:cubicBezTo>
                <a:cubicBezTo>
                  <a:pt x="73" y="97"/>
                  <a:pt x="102" y="93"/>
                  <a:pt x="128" y="111"/>
                </a:cubicBezTo>
                <a:cubicBezTo>
                  <a:pt x="134" y="120"/>
                  <a:pt x="140" y="129"/>
                  <a:pt x="146" y="138"/>
                </a:cubicBezTo>
                <a:cubicBezTo>
                  <a:pt x="149" y="142"/>
                  <a:pt x="155" y="151"/>
                  <a:pt x="155" y="151"/>
                </a:cubicBezTo>
                <a:cubicBezTo>
                  <a:pt x="164" y="182"/>
                  <a:pt x="187" y="212"/>
                  <a:pt x="213" y="231"/>
                </a:cubicBezTo>
                <a:cubicBezTo>
                  <a:pt x="230" y="228"/>
                  <a:pt x="244" y="234"/>
                  <a:pt x="244" y="213"/>
                </a:cubicBezTo>
                <a:cubicBezTo>
                  <a:pt x="244" y="195"/>
                  <a:pt x="213" y="169"/>
                  <a:pt x="213" y="169"/>
                </a:cubicBezTo>
                <a:cubicBezTo>
                  <a:pt x="231" y="157"/>
                  <a:pt x="250" y="157"/>
                  <a:pt x="271" y="151"/>
                </a:cubicBezTo>
                <a:cubicBezTo>
                  <a:pt x="285" y="106"/>
                  <a:pt x="243" y="115"/>
                  <a:pt x="208" y="111"/>
                </a:cubicBezTo>
                <a:cubicBezTo>
                  <a:pt x="194" y="97"/>
                  <a:pt x="193" y="86"/>
                  <a:pt x="182" y="71"/>
                </a:cubicBezTo>
                <a:cubicBezTo>
                  <a:pt x="171" y="33"/>
                  <a:pt x="152" y="11"/>
                  <a:pt x="115" y="0"/>
                </a:cubicBezTo>
                <a:cubicBezTo>
                  <a:pt x="113" y="2"/>
                  <a:pt x="79" y="37"/>
                  <a:pt x="106" y="22"/>
                </a:cubicBezTo>
                <a:close/>
              </a:path>
            </a:pathLst>
          </a:custGeom>
          <a:solidFill>
            <a:srgbClr val="8EB4E3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8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123051" y="3338045"/>
            <a:ext cx="150934" cy="163513"/>
          </a:xfrm>
          <a:custGeom>
            <a:avLst/>
            <a:gdLst>
              <a:gd name="T0" fmla="*/ 18 w 107"/>
              <a:gd name="T1" fmla="*/ 0 h 94"/>
              <a:gd name="T2" fmla="*/ 0 w 107"/>
              <a:gd name="T3" fmla="*/ 58 h 94"/>
              <a:gd name="T4" fmla="*/ 36 w 107"/>
              <a:gd name="T5" fmla="*/ 94 h 94"/>
              <a:gd name="T6" fmla="*/ 89 w 107"/>
              <a:gd name="T7" fmla="*/ 89 h 94"/>
              <a:gd name="T8" fmla="*/ 89 w 107"/>
              <a:gd name="T9" fmla="*/ 31 h 94"/>
              <a:gd name="T10" fmla="*/ 49 w 107"/>
              <a:gd name="T11" fmla="*/ 18 h 94"/>
              <a:gd name="T12" fmla="*/ 18 w 107"/>
              <a:gd name="T13" fmla="*/ 0 h 9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07"/>
              <a:gd name="T22" fmla="*/ 0 h 94"/>
              <a:gd name="T23" fmla="*/ 107 w 107"/>
              <a:gd name="T24" fmla="*/ 94 h 9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07" h="94">
                <a:moveTo>
                  <a:pt x="18" y="0"/>
                </a:moveTo>
                <a:cubicBezTo>
                  <a:pt x="14" y="26"/>
                  <a:pt x="7" y="35"/>
                  <a:pt x="0" y="58"/>
                </a:cubicBezTo>
                <a:cubicBezTo>
                  <a:pt x="9" y="88"/>
                  <a:pt x="7" y="84"/>
                  <a:pt x="36" y="94"/>
                </a:cubicBezTo>
                <a:cubicBezTo>
                  <a:pt x="54" y="92"/>
                  <a:pt x="72" y="94"/>
                  <a:pt x="89" y="89"/>
                </a:cubicBezTo>
                <a:cubicBezTo>
                  <a:pt x="107" y="84"/>
                  <a:pt x="98" y="40"/>
                  <a:pt x="89" y="31"/>
                </a:cubicBezTo>
                <a:cubicBezTo>
                  <a:pt x="83" y="25"/>
                  <a:pt x="58" y="21"/>
                  <a:pt x="49" y="18"/>
                </a:cubicBezTo>
                <a:cubicBezTo>
                  <a:pt x="39" y="11"/>
                  <a:pt x="25" y="9"/>
                  <a:pt x="18" y="0"/>
                </a:cubicBezTo>
                <a:close/>
              </a:path>
            </a:pathLst>
          </a:custGeom>
          <a:solidFill>
            <a:srgbClr val="8EB4E3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9" name="Freeform 22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701877" y="4315941"/>
            <a:ext cx="763466" cy="552450"/>
          </a:xfrm>
          <a:custGeom>
            <a:avLst/>
            <a:gdLst>
              <a:gd name="T0" fmla="*/ 94 w 541"/>
              <a:gd name="T1" fmla="*/ 0 h 314"/>
              <a:gd name="T2" fmla="*/ 130 w 541"/>
              <a:gd name="T3" fmla="*/ 16 h 314"/>
              <a:gd name="T4" fmla="*/ 166 w 541"/>
              <a:gd name="T5" fmla="*/ 40 h 314"/>
              <a:gd name="T6" fmla="*/ 190 w 541"/>
              <a:gd name="T7" fmla="*/ 36 h 314"/>
              <a:gd name="T8" fmla="*/ 214 w 541"/>
              <a:gd name="T9" fmla="*/ 28 h 314"/>
              <a:gd name="T10" fmla="*/ 290 w 541"/>
              <a:gd name="T11" fmla="*/ 120 h 314"/>
              <a:gd name="T12" fmla="*/ 358 w 541"/>
              <a:gd name="T13" fmla="*/ 172 h 314"/>
              <a:gd name="T14" fmla="*/ 390 w 541"/>
              <a:gd name="T15" fmla="*/ 168 h 314"/>
              <a:gd name="T16" fmla="*/ 434 w 541"/>
              <a:gd name="T17" fmla="*/ 128 h 314"/>
              <a:gd name="T18" fmla="*/ 518 w 541"/>
              <a:gd name="T19" fmla="*/ 168 h 314"/>
              <a:gd name="T20" fmla="*/ 534 w 541"/>
              <a:gd name="T21" fmla="*/ 228 h 314"/>
              <a:gd name="T22" fmla="*/ 462 w 541"/>
              <a:gd name="T23" fmla="*/ 288 h 314"/>
              <a:gd name="T24" fmla="*/ 318 w 541"/>
              <a:gd name="T25" fmla="*/ 240 h 314"/>
              <a:gd name="T26" fmla="*/ 190 w 541"/>
              <a:gd name="T27" fmla="*/ 236 h 314"/>
              <a:gd name="T28" fmla="*/ 130 w 541"/>
              <a:gd name="T29" fmla="*/ 228 h 314"/>
              <a:gd name="T30" fmla="*/ 66 w 541"/>
              <a:gd name="T31" fmla="*/ 256 h 314"/>
              <a:gd name="T32" fmla="*/ 22 w 541"/>
              <a:gd name="T33" fmla="*/ 252 h 314"/>
              <a:gd name="T34" fmla="*/ 58 w 541"/>
              <a:gd name="T35" fmla="*/ 192 h 314"/>
              <a:gd name="T36" fmla="*/ 70 w 541"/>
              <a:gd name="T37" fmla="*/ 96 h 314"/>
              <a:gd name="T38" fmla="*/ 102 w 541"/>
              <a:gd name="T39" fmla="*/ 72 h 314"/>
              <a:gd name="T40" fmla="*/ 90 w 541"/>
              <a:gd name="T41" fmla="*/ 28 h 314"/>
              <a:gd name="T42" fmla="*/ 94 w 541"/>
              <a:gd name="T43" fmla="*/ 0 h 314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541"/>
              <a:gd name="T67" fmla="*/ 0 h 314"/>
              <a:gd name="T68" fmla="*/ 541 w 541"/>
              <a:gd name="T69" fmla="*/ 314 h 314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541" h="314">
                <a:moveTo>
                  <a:pt x="94" y="0"/>
                </a:moveTo>
                <a:cubicBezTo>
                  <a:pt x="107" y="4"/>
                  <a:pt x="117" y="12"/>
                  <a:pt x="130" y="16"/>
                </a:cubicBezTo>
                <a:cubicBezTo>
                  <a:pt x="140" y="31"/>
                  <a:pt x="149" y="34"/>
                  <a:pt x="166" y="40"/>
                </a:cubicBezTo>
                <a:cubicBezTo>
                  <a:pt x="174" y="39"/>
                  <a:pt x="182" y="38"/>
                  <a:pt x="190" y="36"/>
                </a:cubicBezTo>
                <a:cubicBezTo>
                  <a:pt x="198" y="34"/>
                  <a:pt x="214" y="28"/>
                  <a:pt x="214" y="28"/>
                </a:cubicBezTo>
                <a:cubicBezTo>
                  <a:pt x="272" y="36"/>
                  <a:pt x="270" y="74"/>
                  <a:pt x="290" y="120"/>
                </a:cubicBezTo>
                <a:cubicBezTo>
                  <a:pt x="302" y="147"/>
                  <a:pt x="332" y="163"/>
                  <a:pt x="358" y="172"/>
                </a:cubicBezTo>
                <a:cubicBezTo>
                  <a:pt x="369" y="171"/>
                  <a:pt x="380" y="171"/>
                  <a:pt x="390" y="168"/>
                </a:cubicBezTo>
                <a:cubicBezTo>
                  <a:pt x="407" y="163"/>
                  <a:pt x="413" y="139"/>
                  <a:pt x="434" y="128"/>
                </a:cubicBezTo>
                <a:cubicBezTo>
                  <a:pt x="489" y="132"/>
                  <a:pt x="497" y="125"/>
                  <a:pt x="518" y="168"/>
                </a:cubicBezTo>
                <a:cubicBezTo>
                  <a:pt x="521" y="196"/>
                  <a:pt x="520" y="207"/>
                  <a:pt x="534" y="228"/>
                </a:cubicBezTo>
                <a:cubicBezTo>
                  <a:pt x="529" y="308"/>
                  <a:pt x="541" y="314"/>
                  <a:pt x="462" y="288"/>
                </a:cubicBezTo>
                <a:cubicBezTo>
                  <a:pt x="452" y="273"/>
                  <a:pt x="343" y="241"/>
                  <a:pt x="318" y="240"/>
                </a:cubicBezTo>
                <a:cubicBezTo>
                  <a:pt x="275" y="238"/>
                  <a:pt x="233" y="237"/>
                  <a:pt x="190" y="236"/>
                </a:cubicBezTo>
                <a:cubicBezTo>
                  <a:pt x="166" y="220"/>
                  <a:pt x="162" y="224"/>
                  <a:pt x="130" y="228"/>
                </a:cubicBezTo>
                <a:cubicBezTo>
                  <a:pt x="104" y="245"/>
                  <a:pt x="100" y="251"/>
                  <a:pt x="66" y="256"/>
                </a:cubicBezTo>
                <a:cubicBezTo>
                  <a:pt x="51" y="255"/>
                  <a:pt x="31" y="263"/>
                  <a:pt x="22" y="252"/>
                </a:cubicBezTo>
                <a:cubicBezTo>
                  <a:pt x="0" y="225"/>
                  <a:pt x="44" y="202"/>
                  <a:pt x="58" y="192"/>
                </a:cubicBezTo>
                <a:cubicBezTo>
                  <a:pt x="67" y="164"/>
                  <a:pt x="25" y="111"/>
                  <a:pt x="70" y="96"/>
                </a:cubicBezTo>
                <a:cubicBezTo>
                  <a:pt x="79" y="82"/>
                  <a:pt x="86" y="77"/>
                  <a:pt x="102" y="72"/>
                </a:cubicBezTo>
                <a:cubicBezTo>
                  <a:pt x="108" y="53"/>
                  <a:pt x="111" y="35"/>
                  <a:pt x="90" y="28"/>
                </a:cubicBezTo>
                <a:cubicBezTo>
                  <a:pt x="84" y="10"/>
                  <a:pt x="84" y="20"/>
                  <a:pt x="94" y="0"/>
                </a:cubicBezTo>
                <a:close/>
              </a:path>
            </a:pathLst>
          </a:custGeom>
          <a:solidFill>
            <a:srgbClr val="08205C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0" name="Freeform 23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5113653" y="4344516"/>
            <a:ext cx="231531" cy="146050"/>
          </a:xfrm>
          <a:custGeom>
            <a:avLst/>
            <a:gdLst>
              <a:gd name="T0" fmla="*/ 14 w 164"/>
              <a:gd name="T1" fmla="*/ 13 h 83"/>
              <a:gd name="T2" fmla="*/ 111 w 164"/>
              <a:gd name="T3" fmla="*/ 8 h 83"/>
              <a:gd name="T4" fmla="*/ 120 w 164"/>
              <a:gd name="T5" fmla="*/ 44 h 83"/>
              <a:gd name="T6" fmla="*/ 0 w 164"/>
              <a:gd name="T7" fmla="*/ 40 h 83"/>
              <a:gd name="T8" fmla="*/ 5 w 164"/>
              <a:gd name="T9" fmla="*/ 22 h 83"/>
              <a:gd name="T10" fmla="*/ 18 w 164"/>
              <a:gd name="T11" fmla="*/ 17 h 83"/>
              <a:gd name="T12" fmla="*/ 14 w 164"/>
              <a:gd name="T13" fmla="*/ 13 h 8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64"/>
              <a:gd name="T22" fmla="*/ 0 h 83"/>
              <a:gd name="T23" fmla="*/ 164 w 164"/>
              <a:gd name="T24" fmla="*/ 83 h 8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64" h="83">
                <a:moveTo>
                  <a:pt x="14" y="13"/>
                </a:moveTo>
                <a:cubicBezTo>
                  <a:pt x="47" y="0"/>
                  <a:pt x="76" y="5"/>
                  <a:pt x="111" y="8"/>
                </a:cubicBezTo>
                <a:cubicBezTo>
                  <a:pt x="139" y="14"/>
                  <a:pt x="164" y="34"/>
                  <a:pt x="120" y="44"/>
                </a:cubicBezTo>
                <a:cubicBezTo>
                  <a:pt x="93" y="83"/>
                  <a:pt x="26" y="78"/>
                  <a:pt x="0" y="40"/>
                </a:cubicBezTo>
                <a:cubicBezTo>
                  <a:pt x="2" y="34"/>
                  <a:pt x="1" y="27"/>
                  <a:pt x="5" y="22"/>
                </a:cubicBezTo>
                <a:cubicBezTo>
                  <a:pt x="8" y="18"/>
                  <a:pt x="15" y="20"/>
                  <a:pt x="18" y="17"/>
                </a:cubicBezTo>
                <a:cubicBezTo>
                  <a:pt x="19" y="16"/>
                  <a:pt x="15" y="14"/>
                  <a:pt x="14" y="13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1" name="Freeform 24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7502228" y="4546129"/>
            <a:ext cx="268165" cy="125412"/>
          </a:xfrm>
          <a:custGeom>
            <a:avLst/>
            <a:gdLst>
              <a:gd name="T0" fmla="*/ 37 w 190"/>
              <a:gd name="T1" fmla="*/ 71 h 71"/>
              <a:gd name="T2" fmla="*/ 15 w 190"/>
              <a:gd name="T3" fmla="*/ 27 h 71"/>
              <a:gd name="T4" fmla="*/ 59 w 190"/>
              <a:gd name="T5" fmla="*/ 18 h 71"/>
              <a:gd name="T6" fmla="*/ 144 w 190"/>
              <a:gd name="T7" fmla="*/ 0 h 71"/>
              <a:gd name="T8" fmla="*/ 130 w 190"/>
              <a:gd name="T9" fmla="*/ 49 h 71"/>
              <a:gd name="T10" fmla="*/ 37 w 190"/>
              <a:gd name="T11" fmla="*/ 71 h 7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0"/>
              <a:gd name="T19" fmla="*/ 0 h 71"/>
              <a:gd name="T20" fmla="*/ 190 w 190"/>
              <a:gd name="T21" fmla="*/ 71 h 7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0" h="71">
                <a:moveTo>
                  <a:pt x="37" y="71"/>
                </a:moveTo>
                <a:cubicBezTo>
                  <a:pt x="16" y="64"/>
                  <a:pt x="0" y="53"/>
                  <a:pt x="15" y="27"/>
                </a:cubicBezTo>
                <a:cubicBezTo>
                  <a:pt x="23" y="14"/>
                  <a:pt x="44" y="20"/>
                  <a:pt x="59" y="18"/>
                </a:cubicBezTo>
                <a:cubicBezTo>
                  <a:pt x="89" y="13"/>
                  <a:pt x="115" y="7"/>
                  <a:pt x="144" y="0"/>
                </a:cubicBezTo>
                <a:cubicBezTo>
                  <a:pt x="190" y="18"/>
                  <a:pt x="153" y="33"/>
                  <a:pt x="130" y="49"/>
                </a:cubicBezTo>
                <a:cubicBezTo>
                  <a:pt x="101" y="69"/>
                  <a:pt x="72" y="71"/>
                  <a:pt x="37" y="71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2" name="Freeform 25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7815820" y="4487391"/>
            <a:ext cx="105508" cy="77788"/>
          </a:xfrm>
          <a:custGeom>
            <a:avLst/>
            <a:gdLst>
              <a:gd name="T0" fmla="*/ 14 w 74"/>
              <a:gd name="T1" fmla="*/ 21 h 45"/>
              <a:gd name="T2" fmla="*/ 50 w 74"/>
              <a:gd name="T3" fmla="*/ 7 h 45"/>
              <a:gd name="T4" fmla="*/ 10 w 74"/>
              <a:gd name="T5" fmla="*/ 34 h 45"/>
              <a:gd name="T6" fmla="*/ 14 w 74"/>
              <a:gd name="T7" fmla="*/ 21 h 45"/>
              <a:gd name="T8" fmla="*/ 0 60000 65536"/>
              <a:gd name="T9" fmla="*/ 0 60000 65536"/>
              <a:gd name="T10" fmla="*/ 0 60000 65536"/>
              <a:gd name="T11" fmla="*/ 0 60000 65536"/>
              <a:gd name="T12" fmla="*/ 0 w 74"/>
              <a:gd name="T13" fmla="*/ 0 h 45"/>
              <a:gd name="T14" fmla="*/ 74 w 74"/>
              <a:gd name="T15" fmla="*/ 45 h 4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4" h="45">
                <a:moveTo>
                  <a:pt x="14" y="21"/>
                </a:moveTo>
                <a:cubicBezTo>
                  <a:pt x="22" y="0"/>
                  <a:pt x="29" y="2"/>
                  <a:pt x="50" y="7"/>
                </a:cubicBezTo>
                <a:cubicBezTo>
                  <a:pt x="74" y="45"/>
                  <a:pt x="44" y="38"/>
                  <a:pt x="10" y="34"/>
                </a:cubicBezTo>
                <a:cubicBezTo>
                  <a:pt x="4" y="18"/>
                  <a:pt x="0" y="21"/>
                  <a:pt x="14" y="21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3" name="Freeform 26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6397330" y="5055716"/>
            <a:ext cx="300403" cy="215900"/>
          </a:xfrm>
          <a:custGeom>
            <a:avLst/>
            <a:gdLst>
              <a:gd name="T0" fmla="*/ 0 w 214"/>
              <a:gd name="T1" fmla="*/ 11 h 123"/>
              <a:gd name="T2" fmla="*/ 125 w 214"/>
              <a:gd name="T3" fmla="*/ 20 h 123"/>
              <a:gd name="T4" fmla="*/ 165 w 214"/>
              <a:gd name="T5" fmla="*/ 51 h 123"/>
              <a:gd name="T6" fmla="*/ 191 w 214"/>
              <a:gd name="T7" fmla="*/ 69 h 123"/>
              <a:gd name="T8" fmla="*/ 214 w 214"/>
              <a:gd name="T9" fmla="*/ 109 h 123"/>
              <a:gd name="T10" fmla="*/ 129 w 214"/>
              <a:gd name="T11" fmla="*/ 109 h 123"/>
              <a:gd name="T12" fmla="*/ 27 w 214"/>
              <a:gd name="T13" fmla="*/ 60 h 123"/>
              <a:gd name="T14" fmla="*/ 0 w 214"/>
              <a:gd name="T15" fmla="*/ 11 h 12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14"/>
              <a:gd name="T25" fmla="*/ 0 h 123"/>
              <a:gd name="T26" fmla="*/ 214 w 214"/>
              <a:gd name="T27" fmla="*/ 123 h 12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14" h="123">
                <a:moveTo>
                  <a:pt x="0" y="11"/>
                </a:moveTo>
                <a:cubicBezTo>
                  <a:pt x="42" y="13"/>
                  <a:pt x="88" y="0"/>
                  <a:pt x="125" y="20"/>
                </a:cubicBezTo>
                <a:cubicBezTo>
                  <a:pt x="161" y="40"/>
                  <a:pt x="140" y="32"/>
                  <a:pt x="165" y="51"/>
                </a:cubicBezTo>
                <a:cubicBezTo>
                  <a:pt x="173" y="57"/>
                  <a:pt x="191" y="69"/>
                  <a:pt x="191" y="69"/>
                </a:cubicBezTo>
                <a:cubicBezTo>
                  <a:pt x="212" y="100"/>
                  <a:pt x="205" y="86"/>
                  <a:pt x="214" y="109"/>
                </a:cubicBezTo>
                <a:cubicBezTo>
                  <a:pt x="186" y="123"/>
                  <a:pt x="159" y="116"/>
                  <a:pt x="129" y="109"/>
                </a:cubicBezTo>
                <a:cubicBezTo>
                  <a:pt x="96" y="86"/>
                  <a:pt x="66" y="69"/>
                  <a:pt x="27" y="60"/>
                </a:cubicBezTo>
                <a:cubicBezTo>
                  <a:pt x="8" y="47"/>
                  <a:pt x="0" y="34"/>
                  <a:pt x="0" y="11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4" name="Freeform 27"/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6442756" y="4638204"/>
            <a:ext cx="545123" cy="227012"/>
          </a:xfrm>
          <a:custGeom>
            <a:avLst/>
            <a:gdLst>
              <a:gd name="T0" fmla="*/ 23 w 387"/>
              <a:gd name="T1" fmla="*/ 99 h 130"/>
              <a:gd name="T2" fmla="*/ 32 w 387"/>
              <a:gd name="T3" fmla="*/ 130 h 130"/>
              <a:gd name="T4" fmla="*/ 169 w 387"/>
              <a:gd name="T5" fmla="*/ 104 h 130"/>
              <a:gd name="T6" fmla="*/ 227 w 387"/>
              <a:gd name="T7" fmla="*/ 126 h 130"/>
              <a:gd name="T8" fmla="*/ 298 w 387"/>
              <a:gd name="T9" fmla="*/ 117 h 130"/>
              <a:gd name="T10" fmla="*/ 365 w 387"/>
              <a:gd name="T11" fmla="*/ 68 h 130"/>
              <a:gd name="T12" fmla="*/ 387 w 387"/>
              <a:gd name="T13" fmla="*/ 28 h 130"/>
              <a:gd name="T14" fmla="*/ 329 w 387"/>
              <a:gd name="T15" fmla="*/ 24 h 130"/>
              <a:gd name="T16" fmla="*/ 280 w 387"/>
              <a:gd name="T17" fmla="*/ 55 h 130"/>
              <a:gd name="T18" fmla="*/ 187 w 387"/>
              <a:gd name="T19" fmla="*/ 50 h 130"/>
              <a:gd name="T20" fmla="*/ 112 w 387"/>
              <a:gd name="T21" fmla="*/ 33 h 130"/>
              <a:gd name="T22" fmla="*/ 36 w 387"/>
              <a:gd name="T23" fmla="*/ 37 h 130"/>
              <a:gd name="T24" fmla="*/ 0 w 387"/>
              <a:gd name="T25" fmla="*/ 73 h 130"/>
              <a:gd name="T26" fmla="*/ 23 w 387"/>
              <a:gd name="T27" fmla="*/ 99 h 1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87"/>
              <a:gd name="T43" fmla="*/ 0 h 130"/>
              <a:gd name="T44" fmla="*/ 387 w 387"/>
              <a:gd name="T45" fmla="*/ 130 h 130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87" h="130">
                <a:moveTo>
                  <a:pt x="23" y="99"/>
                </a:moveTo>
                <a:cubicBezTo>
                  <a:pt x="12" y="117"/>
                  <a:pt x="10" y="124"/>
                  <a:pt x="32" y="130"/>
                </a:cubicBezTo>
                <a:cubicBezTo>
                  <a:pt x="96" y="126"/>
                  <a:pt x="115" y="117"/>
                  <a:pt x="169" y="104"/>
                </a:cubicBezTo>
                <a:cubicBezTo>
                  <a:pt x="191" y="107"/>
                  <a:pt x="220" y="102"/>
                  <a:pt x="227" y="126"/>
                </a:cubicBezTo>
                <a:cubicBezTo>
                  <a:pt x="251" y="124"/>
                  <a:pt x="277" y="128"/>
                  <a:pt x="298" y="117"/>
                </a:cubicBezTo>
                <a:cubicBezTo>
                  <a:pt x="323" y="103"/>
                  <a:pt x="342" y="84"/>
                  <a:pt x="365" y="68"/>
                </a:cubicBezTo>
                <a:cubicBezTo>
                  <a:pt x="386" y="37"/>
                  <a:pt x="380" y="51"/>
                  <a:pt x="387" y="28"/>
                </a:cubicBezTo>
                <a:cubicBezTo>
                  <a:pt x="378" y="0"/>
                  <a:pt x="351" y="16"/>
                  <a:pt x="329" y="24"/>
                </a:cubicBezTo>
                <a:cubicBezTo>
                  <a:pt x="315" y="44"/>
                  <a:pt x="302" y="47"/>
                  <a:pt x="280" y="55"/>
                </a:cubicBezTo>
                <a:cubicBezTo>
                  <a:pt x="247" y="49"/>
                  <a:pt x="221" y="46"/>
                  <a:pt x="187" y="50"/>
                </a:cubicBezTo>
                <a:cubicBezTo>
                  <a:pt x="162" y="42"/>
                  <a:pt x="137" y="38"/>
                  <a:pt x="112" y="33"/>
                </a:cubicBezTo>
                <a:cubicBezTo>
                  <a:pt x="90" y="35"/>
                  <a:pt x="58" y="44"/>
                  <a:pt x="36" y="37"/>
                </a:cubicBezTo>
                <a:cubicBezTo>
                  <a:pt x="6" y="46"/>
                  <a:pt x="10" y="44"/>
                  <a:pt x="0" y="73"/>
                </a:cubicBezTo>
                <a:cubicBezTo>
                  <a:pt x="8" y="95"/>
                  <a:pt x="13" y="81"/>
                  <a:pt x="23" y="99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5" name="Freeform 28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6973224" y="4719166"/>
            <a:ext cx="87923" cy="107950"/>
          </a:xfrm>
          <a:custGeom>
            <a:avLst/>
            <a:gdLst>
              <a:gd name="T0" fmla="*/ 7 w 61"/>
              <a:gd name="T1" fmla="*/ 35 h 62"/>
              <a:gd name="T2" fmla="*/ 38 w 61"/>
              <a:gd name="T3" fmla="*/ 0 h 62"/>
              <a:gd name="T4" fmla="*/ 47 w 61"/>
              <a:gd name="T5" fmla="*/ 35 h 62"/>
              <a:gd name="T6" fmla="*/ 20 w 61"/>
              <a:gd name="T7" fmla="*/ 53 h 62"/>
              <a:gd name="T8" fmla="*/ 7 w 61"/>
              <a:gd name="T9" fmla="*/ 62 h 62"/>
              <a:gd name="T10" fmla="*/ 7 w 61"/>
              <a:gd name="T11" fmla="*/ 35 h 6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1"/>
              <a:gd name="T19" fmla="*/ 0 h 62"/>
              <a:gd name="T20" fmla="*/ 61 w 61"/>
              <a:gd name="T21" fmla="*/ 62 h 6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1" h="62">
                <a:moveTo>
                  <a:pt x="7" y="35"/>
                </a:moveTo>
                <a:cubicBezTo>
                  <a:pt x="17" y="20"/>
                  <a:pt x="22" y="10"/>
                  <a:pt x="38" y="0"/>
                </a:cubicBezTo>
                <a:cubicBezTo>
                  <a:pt x="49" y="11"/>
                  <a:pt x="61" y="16"/>
                  <a:pt x="47" y="35"/>
                </a:cubicBezTo>
                <a:cubicBezTo>
                  <a:pt x="40" y="44"/>
                  <a:pt x="29" y="47"/>
                  <a:pt x="20" y="53"/>
                </a:cubicBezTo>
                <a:cubicBezTo>
                  <a:pt x="16" y="56"/>
                  <a:pt x="7" y="62"/>
                  <a:pt x="7" y="62"/>
                </a:cubicBezTo>
                <a:cubicBezTo>
                  <a:pt x="0" y="44"/>
                  <a:pt x="0" y="53"/>
                  <a:pt x="7" y="35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6" name="Freeform 29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7071407" y="4695358"/>
            <a:ext cx="101111" cy="103187"/>
          </a:xfrm>
          <a:custGeom>
            <a:avLst/>
            <a:gdLst>
              <a:gd name="T0" fmla="*/ 0 w 72"/>
              <a:gd name="T1" fmla="*/ 44 h 59"/>
              <a:gd name="T2" fmla="*/ 13 w 72"/>
              <a:gd name="T3" fmla="*/ 17 h 59"/>
              <a:gd name="T4" fmla="*/ 40 w 72"/>
              <a:gd name="T5" fmla="*/ 0 h 59"/>
              <a:gd name="T6" fmla="*/ 62 w 72"/>
              <a:gd name="T7" fmla="*/ 4 h 59"/>
              <a:gd name="T8" fmla="*/ 62 w 72"/>
              <a:gd name="T9" fmla="*/ 40 h 59"/>
              <a:gd name="T10" fmla="*/ 0 w 72"/>
              <a:gd name="T11" fmla="*/ 44 h 5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72"/>
              <a:gd name="T19" fmla="*/ 0 h 59"/>
              <a:gd name="T20" fmla="*/ 72 w 72"/>
              <a:gd name="T21" fmla="*/ 59 h 5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72" h="59">
                <a:moveTo>
                  <a:pt x="0" y="44"/>
                </a:moveTo>
                <a:cubicBezTo>
                  <a:pt x="3" y="35"/>
                  <a:pt x="5" y="24"/>
                  <a:pt x="13" y="17"/>
                </a:cubicBezTo>
                <a:cubicBezTo>
                  <a:pt x="21" y="10"/>
                  <a:pt x="40" y="0"/>
                  <a:pt x="40" y="0"/>
                </a:cubicBezTo>
                <a:cubicBezTo>
                  <a:pt x="47" y="1"/>
                  <a:pt x="56" y="0"/>
                  <a:pt x="62" y="4"/>
                </a:cubicBezTo>
                <a:cubicBezTo>
                  <a:pt x="72" y="10"/>
                  <a:pt x="64" y="36"/>
                  <a:pt x="62" y="40"/>
                </a:cubicBezTo>
                <a:cubicBezTo>
                  <a:pt x="51" y="59"/>
                  <a:pt x="14" y="58"/>
                  <a:pt x="0" y="44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7" name="Freeform 30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7269231" y="4647733"/>
            <a:ext cx="145074" cy="115887"/>
          </a:xfrm>
          <a:custGeom>
            <a:avLst/>
            <a:gdLst>
              <a:gd name="T0" fmla="*/ 10 w 103"/>
              <a:gd name="T1" fmla="*/ 31 h 66"/>
              <a:gd name="T2" fmla="*/ 32 w 103"/>
              <a:gd name="T3" fmla="*/ 0 h 66"/>
              <a:gd name="T4" fmla="*/ 46 w 103"/>
              <a:gd name="T5" fmla="*/ 4 h 66"/>
              <a:gd name="T6" fmla="*/ 54 w 103"/>
              <a:gd name="T7" fmla="*/ 18 h 66"/>
              <a:gd name="T8" fmla="*/ 103 w 103"/>
              <a:gd name="T9" fmla="*/ 22 h 66"/>
              <a:gd name="T10" fmla="*/ 32 w 103"/>
              <a:gd name="T11" fmla="*/ 49 h 66"/>
              <a:gd name="T12" fmla="*/ 10 w 103"/>
              <a:gd name="T13" fmla="*/ 31 h 6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03"/>
              <a:gd name="T22" fmla="*/ 0 h 66"/>
              <a:gd name="T23" fmla="*/ 103 w 103"/>
              <a:gd name="T24" fmla="*/ 66 h 6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03" h="66">
                <a:moveTo>
                  <a:pt x="10" y="31"/>
                </a:moveTo>
                <a:cubicBezTo>
                  <a:pt x="15" y="14"/>
                  <a:pt x="14" y="6"/>
                  <a:pt x="32" y="0"/>
                </a:cubicBezTo>
                <a:cubicBezTo>
                  <a:pt x="37" y="1"/>
                  <a:pt x="42" y="1"/>
                  <a:pt x="46" y="4"/>
                </a:cubicBezTo>
                <a:cubicBezTo>
                  <a:pt x="50" y="7"/>
                  <a:pt x="49" y="16"/>
                  <a:pt x="54" y="18"/>
                </a:cubicBezTo>
                <a:cubicBezTo>
                  <a:pt x="70" y="23"/>
                  <a:pt x="87" y="21"/>
                  <a:pt x="103" y="22"/>
                </a:cubicBezTo>
                <a:cubicBezTo>
                  <a:pt x="95" y="66"/>
                  <a:pt x="80" y="53"/>
                  <a:pt x="32" y="49"/>
                </a:cubicBezTo>
                <a:cubicBezTo>
                  <a:pt x="25" y="46"/>
                  <a:pt x="0" y="41"/>
                  <a:pt x="10" y="31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8" name="Freeform 31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7156397" y="4701708"/>
            <a:ext cx="84992" cy="71437"/>
          </a:xfrm>
          <a:custGeom>
            <a:avLst/>
            <a:gdLst>
              <a:gd name="T0" fmla="*/ 19 w 59"/>
              <a:gd name="T1" fmla="*/ 28 h 41"/>
              <a:gd name="T2" fmla="*/ 59 w 59"/>
              <a:gd name="T3" fmla="*/ 5 h 41"/>
              <a:gd name="T4" fmla="*/ 41 w 59"/>
              <a:gd name="T5" fmla="*/ 37 h 41"/>
              <a:gd name="T6" fmla="*/ 19 w 59"/>
              <a:gd name="T7" fmla="*/ 28 h 41"/>
              <a:gd name="T8" fmla="*/ 0 60000 65536"/>
              <a:gd name="T9" fmla="*/ 0 60000 65536"/>
              <a:gd name="T10" fmla="*/ 0 60000 65536"/>
              <a:gd name="T11" fmla="*/ 0 60000 65536"/>
              <a:gd name="T12" fmla="*/ 0 w 59"/>
              <a:gd name="T13" fmla="*/ 0 h 41"/>
              <a:gd name="T14" fmla="*/ 59 w 59"/>
              <a:gd name="T15" fmla="*/ 41 h 4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9" h="41">
                <a:moveTo>
                  <a:pt x="19" y="28"/>
                </a:moveTo>
                <a:cubicBezTo>
                  <a:pt x="25" y="0"/>
                  <a:pt x="32" y="0"/>
                  <a:pt x="59" y="5"/>
                </a:cubicBezTo>
                <a:cubicBezTo>
                  <a:pt x="57" y="16"/>
                  <a:pt x="58" y="35"/>
                  <a:pt x="41" y="37"/>
                </a:cubicBezTo>
                <a:cubicBezTo>
                  <a:pt x="0" y="41"/>
                  <a:pt x="10" y="36"/>
                  <a:pt x="19" y="28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9" name="Freeform 32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6763676" y="5195416"/>
            <a:ext cx="63011" cy="88900"/>
          </a:xfrm>
          <a:custGeom>
            <a:avLst/>
            <a:gdLst>
              <a:gd name="T0" fmla="*/ 0 w 45"/>
              <a:gd name="T1" fmla="*/ 43 h 50"/>
              <a:gd name="T2" fmla="*/ 36 w 45"/>
              <a:gd name="T3" fmla="*/ 8 h 50"/>
              <a:gd name="T4" fmla="*/ 45 w 45"/>
              <a:gd name="T5" fmla="*/ 21 h 50"/>
              <a:gd name="T6" fmla="*/ 0 w 45"/>
              <a:gd name="T7" fmla="*/ 43 h 50"/>
              <a:gd name="T8" fmla="*/ 0 60000 65536"/>
              <a:gd name="T9" fmla="*/ 0 60000 65536"/>
              <a:gd name="T10" fmla="*/ 0 60000 65536"/>
              <a:gd name="T11" fmla="*/ 0 60000 65536"/>
              <a:gd name="T12" fmla="*/ 0 w 45"/>
              <a:gd name="T13" fmla="*/ 0 h 50"/>
              <a:gd name="T14" fmla="*/ 45 w 45"/>
              <a:gd name="T15" fmla="*/ 50 h 5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5" h="50">
                <a:moveTo>
                  <a:pt x="0" y="43"/>
                </a:moveTo>
                <a:cubicBezTo>
                  <a:pt x="5" y="15"/>
                  <a:pt x="6" y="0"/>
                  <a:pt x="36" y="8"/>
                </a:cubicBezTo>
                <a:cubicBezTo>
                  <a:pt x="39" y="12"/>
                  <a:pt x="45" y="16"/>
                  <a:pt x="45" y="21"/>
                </a:cubicBezTo>
                <a:cubicBezTo>
                  <a:pt x="45" y="40"/>
                  <a:pt x="12" y="50"/>
                  <a:pt x="0" y="43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30" name="Freeform 33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6967364" y="5241454"/>
            <a:ext cx="131885" cy="131762"/>
          </a:xfrm>
          <a:custGeom>
            <a:avLst/>
            <a:gdLst>
              <a:gd name="T0" fmla="*/ 7 w 94"/>
              <a:gd name="T1" fmla="*/ 57 h 75"/>
              <a:gd name="T2" fmla="*/ 69 w 94"/>
              <a:gd name="T3" fmla="*/ 0 h 75"/>
              <a:gd name="T4" fmla="*/ 83 w 94"/>
              <a:gd name="T5" fmla="*/ 35 h 75"/>
              <a:gd name="T6" fmla="*/ 12 w 94"/>
              <a:gd name="T7" fmla="*/ 75 h 75"/>
              <a:gd name="T8" fmla="*/ 7 w 94"/>
              <a:gd name="T9" fmla="*/ 57 h 7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4"/>
              <a:gd name="T16" fmla="*/ 0 h 75"/>
              <a:gd name="T17" fmla="*/ 94 w 94"/>
              <a:gd name="T18" fmla="*/ 75 h 7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4" h="75">
                <a:moveTo>
                  <a:pt x="7" y="57"/>
                </a:moveTo>
                <a:cubicBezTo>
                  <a:pt x="14" y="20"/>
                  <a:pt x="35" y="8"/>
                  <a:pt x="69" y="0"/>
                </a:cubicBezTo>
                <a:cubicBezTo>
                  <a:pt x="86" y="5"/>
                  <a:pt x="94" y="16"/>
                  <a:pt x="83" y="35"/>
                </a:cubicBezTo>
                <a:cubicBezTo>
                  <a:pt x="70" y="58"/>
                  <a:pt x="35" y="69"/>
                  <a:pt x="12" y="75"/>
                </a:cubicBezTo>
                <a:cubicBezTo>
                  <a:pt x="2" y="60"/>
                  <a:pt x="0" y="66"/>
                  <a:pt x="7" y="57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31" name="Freeform 34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7127091" y="4730283"/>
            <a:ext cx="659423" cy="477837"/>
          </a:xfrm>
          <a:custGeom>
            <a:avLst/>
            <a:gdLst>
              <a:gd name="T0" fmla="*/ 13 w 467"/>
              <a:gd name="T1" fmla="*/ 264 h 272"/>
              <a:gd name="T2" fmla="*/ 35 w 467"/>
              <a:gd name="T3" fmla="*/ 166 h 272"/>
              <a:gd name="T4" fmla="*/ 62 w 467"/>
              <a:gd name="T5" fmla="*/ 126 h 272"/>
              <a:gd name="T6" fmla="*/ 173 w 467"/>
              <a:gd name="T7" fmla="*/ 73 h 272"/>
              <a:gd name="T8" fmla="*/ 200 w 467"/>
              <a:gd name="T9" fmla="*/ 60 h 272"/>
              <a:gd name="T10" fmla="*/ 227 w 467"/>
              <a:gd name="T11" fmla="*/ 42 h 272"/>
              <a:gd name="T12" fmla="*/ 329 w 467"/>
              <a:gd name="T13" fmla="*/ 2 h 272"/>
              <a:gd name="T14" fmla="*/ 462 w 467"/>
              <a:gd name="T15" fmla="*/ 6 h 272"/>
              <a:gd name="T16" fmla="*/ 458 w 467"/>
              <a:gd name="T17" fmla="*/ 20 h 272"/>
              <a:gd name="T18" fmla="*/ 422 w 467"/>
              <a:gd name="T19" fmla="*/ 46 h 272"/>
              <a:gd name="T20" fmla="*/ 413 w 467"/>
              <a:gd name="T21" fmla="*/ 60 h 272"/>
              <a:gd name="T22" fmla="*/ 387 w 467"/>
              <a:gd name="T23" fmla="*/ 68 h 272"/>
              <a:gd name="T24" fmla="*/ 315 w 467"/>
              <a:gd name="T25" fmla="*/ 100 h 272"/>
              <a:gd name="T26" fmla="*/ 262 w 467"/>
              <a:gd name="T27" fmla="*/ 135 h 272"/>
              <a:gd name="T28" fmla="*/ 213 w 467"/>
              <a:gd name="T29" fmla="*/ 153 h 272"/>
              <a:gd name="T30" fmla="*/ 187 w 467"/>
              <a:gd name="T31" fmla="*/ 171 h 272"/>
              <a:gd name="T32" fmla="*/ 173 w 467"/>
              <a:gd name="T33" fmla="*/ 180 h 272"/>
              <a:gd name="T34" fmla="*/ 120 w 467"/>
              <a:gd name="T35" fmla="*/ 224 h 272"/>
              <a:gd name="T36" fmla="*/ 13 w 467"/>
              <a:gd name="T37" fmla="*/ 264 h 27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467"/>
              <a:gd name="T58" fmla="*/ 0 h 272"/>
              <a:gd name="T59" fmla="*/ 467 w 467"/>
              <a:gd name="T60" fmla="*/ 272 h 272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467" h="272">
                <a:moveTo>
                  <a:pt x="13" y="264"/>
                </a:moveTo>
                <a:cubicBezTo>
                  <a:pt x="0" y="220"/>
                  <a:pt x="11" y="197"/>
                  <a:pt x="35" y="166"/>
                </a:cubicBezTo>
                <a:cubicBezTo>
                  <a:pt x="44" y="155"/>
                  <a:pt x="54" y="139"/>
                  <a:pt x="62" y="126"/>
                </a:cubicBezTo>
                <a:cubicBezTo>
                  <a:pt x="77" y="103"/>
                  <a:pt x="149" y="80"/>
                  <a:pt x="173" y="73"/>
                </a:cubicBezTo>
                <a:cubicBezTo>
                  <a:pt x="181" y="68"/>
                  <a:pt x="192" y="66"/>
                  <a:pt x="200" y="60"/>
                </a:cubicBezTo>
                <a:cubicBezTo>
                  <a:pt x="232" y="38"/>
                  <a:pt x="195" y="51"/>
                  <a:pt x="227" y="42"/>
                </a:cubicBezTo>
                <a:cubicBezTo>
                  <a:pt x="246" y="8"/>
                  <a:pt x="294" y="5"/>
                  <a:pt x="329" y="2"/>
                </a:cubicBezTo>
                <a:cubicBezTo>
                  <a:pt x="373" y="3"/>
                  <a:pt x="418" y="0"/>
                  <a:pt x="462" y="6"/>
                </a:cubicBezTo>
                <a:cubicBezTo>
                  <a:pt x="467" y="7"/>
                  <a:pt x="460" y="16"/>
                  <a:pt x="458" y="20"/>
                </a:cubicBezTo>
                <a:cubicBezTo>
                  <a:pt x="450" y="36"/>
                  <a:pt x="438" y="41"/>
                  <a:pt x="422" y="46"/>
                </a:cubicBezTo>
                <a:cubicBezTo>
                  <a:pt x="419" y="51"/>
                  <a:pt x="418" y="57"/>
                  <a:pt x="413" y="60"/>
                </a:cubicBezTo>
                <a:cubicBezTo>
                  <a:pt x="405" y="65"/>
                  <a:pt x="387" y="68"/>
                  <a:pt x="387" y="68"/>
                </a:cubicBezTo>
                <a:cubicBezTo>
                  <a:pt x="364" y="83"/>
                  <a:pt x="339" y="87"/>
                  <a:pt x="315" y="100"/>
                </a:cubicBezTo>
                <a:cubicBezTo>
                  <a:pt x="295" y="111"/>
                  <a:pt x="285" y="128"/>
                  <a:pt x="262" y="135"/>
                </a:cubicBezTo>
                <a:cubicBezTo>
                  <a:pt x="246" y="146"/>
                  <a:pt x="231" y="148"/>
                  <a:pt x="213" y="153"/>
                </a:cubicBezTo>
                <a:cubicBezTo>
                  <a:pt x="204" y="159"/>
                  <a:pt x="196" y="165"/>
                  <a:pt x="187" y="171"/>
                </a:cubicBezTo>
                <a:cubicBezTo>
                  <a:pt x="182" y="174"/>
                  <a:pt x="173" y="180"/>
                  <a:pt x="173" y="180"/>
                </a:cubicBezTo>
                <a:cubicBezTo>
                  <a:pt x="158" y="202"/>
                  <a:pt x="142" y="211"/>
                  <a:pt x="120" y="224"/>
                </a:cubicBezTo>
                <a:cubicBezTo>
                  <a:pt x="78" y="249"/>
                  <a:pt x="68" y="272"/>
                  <a:pt x="13" y="264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32" name="Freeform 35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6325526" y="4765208"/>
            <a:ext cx="74735" cy="71437"/>
          </a:xfrm>
          <a:custGeom>
            <a:avLst/>
            <a:gdLst>
              <a:gd name="T0" fmla="*/ 13 w 53"/>
              <a:gd name="T1" fmla="*/ 0 h 40"/>
              <a:gd name="T2" fmla="*/ 44 w 53"/>
              <a:gd name="T3" fmla="*/ 4 h 40"/>
              <a:gd name="T4" fmla="*/ 44 w 53"/>
              <a:gd name="T5" fmla="*/ 31 h 40"/>
              <a:gd name="T6" fmla="*/ 18 w 53"/>
              <a:gd name="T7" fmla="*/ 40 h 40"/>
              <a:gd name="T8" fmla="*/ 13 w 53"/>
              <a:gd name="T9" fmla="*/ 0 h 4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3"/>
              <a:gd name="T16" fmla="*/ 0 h 40"/>
              <a:gd name="T17" fmla="*/ 53 w 53"/>
              <a:gd name="T18" fmla="*/ 40 h 4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3" h="40">
                <a:moveTo>
                  <a:pt x="13" y="0"/>
                </a:moveTo>
                <a:cubicBezTo>
                  <a:pt x="23" y="1"/>
                  <a:pt x="35" y="0"/>
                  <a:pt x="44" y="4"/>
                </a:cubicBezTo>
                <a:cubicBezTo>
                  <a:pt x="53" y="8"/>
                  <a:pt x="48" y="27"/>
                  <a:pt x="44" y="31"/>
                </a:cubicBezTo>
                <a:cubicBezTo>
                  <a:pt x="38" y="37"/>
                  <a:pt x="27" y="37"/>
                  <a:pt x="18" y="40"/>
                </a:cubicBezTo>
                <a:cubicBezTo>
                  <a:pt x="6" y="22"/>
                  <a:pt x="0" y="18"/>
                  <a:pt x="13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33" name="Freeform 36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6413447" y="4803304"/>
            <a:ext cx="39566" cy="44450"/>
          </a:xfrm>
          <a:custGeom>
            <a:avLst/>
            <a:gdLst>
              <a:gd name="T0" fmla="*/ 21 w 28"/>
              <a:gd name="T1" fmla="*/ 25 h 26"/>
              <a:gd name="T2" fmla="*/ 3 w 28"/>
              <a:gd name="T3" fmla="*/ 21 h 26"/>
              <a:gd name="T4" fmla="*/ 7 w 28"/>
              <a:gd name="T5" fmla="*/ 3 h 26"/>
              <a:gd name="T6" fmla="*/ 21 w 28"/>
              <a:gd name="T7" fmla="*/ 8 h 26"/>
              <a:gd name="T8" fmla="*/ 21 w 28"/>
              <a:gd name="T9" fmla="*/ 25 h 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8"/>
              <a:gd name="T16" fmla="*/ 0 h 26"/>
              <a:gd name="T17" fmla="*/ 28 w 28"/>
              <a:gd name="T18" fmla="*/ 26 h 2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8" h="26">
                <a:moveTo>
                  <a:pt x="21" y="25"/>
                </a:moveTo>
                <a:cubicBezTo>
                  <a:pt x="15" y="24"/>
                  <a:pt x="6" y="26"/>
                  <a:pt x="3" y="21"/>
                </a:cubicBezTo>
                <a:cubicBezTo>
                  <a:pt x="0" y="16"/>
                  <a:pt x="2" y="7"/>
                  <a:pt x="7" y="3"/>
                </a:cubicBezTo>
                <a:cubicBezTo>
                  <a:pt x="11" y="0"/>
                  <a:pt x="16" y="6"/>
                  <a:pt x="21" y="8"/>
                </a:cubicBezTo>
                <a:cubicBezTo>
                  <a:pt x="26" y="23"/>
                  <a:pt x="28" y="18"/>
                  <a:pt x="21" y="25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34" name="Freeform 37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6960035" y="3846041"/>
            <a:ext cx="95250" cy="280988"/>
          </a:xfrm>
          <a:custGeom>
            <a:avLst/>
            <a:gdLst>
              <a:gd name="T0" fmla="*/ 40 w 68"/>
              <a:gd name="T1" fmla="*/ 6 h 160"/>
              <a:gd name="T2" fmla="*/ 14 w 68"/>
              <a:gd name="T3" fmla="*/ 37 h 160"/>
              <a:gd name="T4" fmla="*/ 23 w 68"/>
              <a:gd name="T5" fmla="*/ 64 h 160"/>
              <a:gd name="T6" fmla="*/ 0 w 68"/>
              <a:gd name="T7" fmla="*/ 122 h 160"/>
              <a:gd name="T8" fmla="*/ 49 w 68"/>
              <a:gd name="T9" fmla="*/ 131 h 160"/>
              <a:gd name="T10" fmla="*/ 40 w 68"/>
              <a:gd name="T11" fmla="*/ 91 h 160"/>
              <a:gd name="T12" fmla="*/ 67 w 68"/>
              <a:gd name="T13" fmla="*/ 51 h 160"/>
              <a:gd name="T14" fmla="*/ 63 w 68"/>
              <a:gd name="T15" fmla="*/ 24 h 160"/>
              <a:gd name="T16" fmla="*/ 40 w 68"/>
              <a:gd name="T17" fmla="*/ 6 h 16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8"/>
              <a:gd name="T28" fmla="*/ 0 h 160"/>
              <a:gd name="T29" fmla="*/ 68 w 68"/>
              <a:gd name="T30" fmla="*/ 160 h 16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8" h="160">
                <a:moveTo>
                  <a:pt x="40" y="6"/>
                </a:moveTo>
                <a:cubicBezTo>
                  <a:pt x="23" y="13"/>
                  <a:pt x="19" y="20"/>
                  <a:pt x="14" y="37"/>
                </a:cubicBezTo>
                <a:cubicBezTo>
                  <a:pt x="17" y="46"/>
                  <a:pt x="24" y="55"/>
                  <a:pt x="23" y="64"/>
                </a:cubicBezTo>
                <a:cubicBezTo>
                  <a:pt x="21" y="84"/>
                  <a:pt x="11" y="106"/>
                  <a:pt x="0" y="122"/>
                </a:cubicBezTo>
                <a:cubicBezTo>
                  <a:pt x="9" y="160"/>
                  <a:pt x="21" y="150"/>
                  <a:pt x="49" y="131"/>
                </a:cubicBezTo>
                <a:cubicBezTo>
                  <a:pt x="56" y="112"/>
                  <a:pt x="51" y="107"/>
                  <a:pt x="40" y="91"/>
                </a:cubicBezTo>
                <a:cubicBezTo>
                  <a:pt x="48" y="53"/>
                  <a:pt x="48" y="78"/>
                  <a:pt x="67" y="51"/>
                </a:cubicBezTo>
                <a:cubicBezTo>
                  <a:pt x="66" y="42"/>
                  <a:pt x="68" y="32"/>
                  <a:pt x="63" y="24"/>
                </a:cubicBezTo>
                <a:cubicBezTo>
                  <a:pt x="49" y="0"/>
                  <a:pt x="17" y="53"/>
                  <a:pt x="40" y="6"/>
                </a:cubicBezTo>
                <a:close/>
              </a:path>
            </a:pathLst>
          </a:custGeom>
          <a:solidFill>
            <a:srgbClr val="D2CFCC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35" name="Freeform 38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743159" y="2869733"/>
            <a:ext cx="82062" cy="77787"/>
          </a:xfrm>
          <a:custGeom>
            <a:avLst/>
            <a:gdLst>
              <a:gd name="T0" fmla="*/ 20 w 59"/>
              <a:gd name="T1" fmla="*/ 0 h 44"/>
              <a:gd name="T2" fmla="*/ 28 w 59"/>
              <a:gd name="T3" fmla="*/ 44 h 44"/>
              <a:gd name="T4" fmla="*/ 20 w 59"/>
              <a:gd name="T5" fmla="*/ 8 h 44"/>
              <a:gd name="T6" fmla="*/ 20 w 59"/>
              <a:gd name="T7" fmla="*/ 0 h 44"/>
              <a:gd name="T8" fmla="*/ 0 60000 65536"/>
              <a:gd name="T9" fmla="*/ 0 60000 65536"/>
              <a:gd name="T10" fmla="*/ 0 60000 65536"/>
              <a:gd name="T11" fmla="*/ 0 60000 65536"/>
              <a:gd name="T12" fmla="*/ 0 w 59"/>
              <a:gd name="T13" fmla="*/ 0 h 44"/>
              <a:gd name="T14" fmla="*/ 59 w 59"/>
              <a:gd name="T15" fmla="*/ 44 h 4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9" h="44">
                <a:moveTo>
                  <a:pt x="20" y="0"/>
                </a:moveTo>
                <a:cubicBezTo>
                  <a:pt x="13" y="19"/>
                  <a:pt x="3" y="36"/>
                  <a:pt x="28" y="44"/>
                </a:cubicBezTo>
                <a:cubicBezTo>
                  <a:pt x="59" y="24"/>
                  <a:pt x="47" y="18"/>
                  <a:pt x="20" y="8"/>
                </a:cubicBezTo>
                <a:cubicBezTo>
                  <a:pt x="0" y="15"/>
                  <a:pt x="2" y="16"/>
                  <a:pt x="20" y="0"/>
                </a:cubicBezTo>
                <a:close/>
              </a:path>
            </a:pathLst>
          </a:custGeom>
          <a:solidFill>
            <a:srgbClr val="08205C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36" name="Freeform 39"/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7283887" y="3149129"/>
            <a:ext cx="197827" cy="139700"/>
          </a:xfrm>
          <a:custGeom>
            <a:avLst/>
            <a:gdLst>
              <a:gd name="T0" fmla="*/ 13 w 140"/>
              <a:gd name="T1" fmla="*/ 23 h 79"/>
              <a:gd name="T2" fmla="*/ 107 w 140"/>
              <a:gd name="T3" fmla="*/ 14 h 79"/>
              <a:gd name="T4" fmla="*/ 124 w 140"/>
              <a:gd name="T5" fmla="*/ 49 h 79"/>
              <a:gd name="T6" fmla="*/ 98 w 140"/>
              <a:gd name="T7" fmla="*/ 58 h 79"/>
              <a:gd name="T8" fmla="*/ 0 w 140"/>
              <a:gd name="T9" fmla="*/ 27 h 79"/>
              <a:gd name="T10" fmla="*/ 13 w 140"/>
              <a:gd name="T11" fmla="*/ 23 h 7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0"/>
              <a:gd name="T19" fmla="*/ 0 h 79"/>
              <a:gd name="T20" fmla="*/ 140 w 140"/>
              <a:gd name="T21" fmla="*/ 79 h 7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0" h="79">
                <a:moveTo>
                  <a:pt x="13" y="23"/>
                </a:moveTo>
                <a:cubicBezTo>
                  <a:pt x="48" y="0"/>
                  <a:pt x="52" y="10"/>
                  <a:pt x="107" y="14"/>
                </a:cubicBezTo>
                <a:cubicBezTo>
                  <a:pt x="123" y="18"/>
                  <a:pt x="140" y="29"/>
                  <a:pt x="124" y="49"/>
                </a:cubicBezTo>
                <a:cubicBezTo>
                  <a:pt x="123" y="51"/>
                  <a:pt x="100" y="57"/>
                  <a:pt x="98" y="58"/>
                </a:cubicBezTo>
                <a:cubicBezTo>
                  <a:pt x="9" y="54"/>
                  <a:pt x="15" y="79"/>
                  <a:pt x="0" y="27"/>
                </a:cubicBezTo>
                <a:cubicBezTo>
                  <a:pt x="14" y="17"/>
                  <a:pt x="13" y="13"/>
                  <a:pt x="13" y="23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37" name="Freeform 40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7569637" y="3485679"/>
            <a:ext cx="260838" cy="195262"/>
          </a:xfrm>
          <a:custGeom>
            <a:avLst/>
            <a:gdLst>
              <a:gd name="T0" fmla="*/ 16 w 185"/>
              <a:gd name="T1" fmla="*/ 0 h 111"/>
              <a:gd name="T2" fmla="*/ 154 w 185"/>
              <a:gd name="T3" fmla="*/ 26 h 111"/>
              <a:gd name="T4" fmla="*/ 185 w 185"/>
              <a:gd name="T5" fmla="*/ 71 h 111"/>
              <a:gd name="T6" fmla="*/ 131 w 185"/>
              <a:gd name="T7" fmla="*/ 111 h 111"/>
              <a:gd name="T8" fmla="*/ 34 w 185"/>
              <a:gd name="T9" fmla="*/ 89 h 111"/>
              <a:gd name="T10" fmla="*/ 11 w 185"/>
              <a:gd name="T11" fmla="*/ 49 h 111"/>
              <a:gd name="T12" fmla="*/ 2 w 185"/>
              <a:gd name="T13" fmla="*/ 22 h 111"/>
              <a:gd name="T14" fmla="*/ 16 w 185"/>
              <a:gd name="T15" fmla="*/ 0 h 11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85"/>
              <a:gd name="T25" fmla="*/ 0 h 111"/>
              <a:gd name="T26" fmla="*/ 185 w 185"/>
              <a:gd name="T27" fmla="*/ 111 h 11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85" h="111">
                <a:moveTo>
                  <a:pt x="16" y="0"/>
                </a:moveTo>
                <a:cubicBezTo>
                  <a:pt x="27" y="37"/>
                  <a:pt x="124" y="24"/>
                  <a:pt x="154" y="26"/>
                </a:cubicBezTo>
                <a:cubicBezTo>
                  <a:pt x="176" y="35"/>
                  <a:pt x="178" y="50"/>
                  <a:pt x="185" y="71"/>
                </a:cubicBezTo>
                <a:cubicBezTo>
                  <a:pt x="174" y="100"/>
                  <a:pt x="158" y="101"/>
                  <a:pt x="131" y="111"/>
                </a:cubicBezTo>
                <a:cubicBezTo>
                  <a:pt x="95" y="106"/>
                  <a:pt x="69" y="93"/>
                  <a:pt x="34" y="89"/>
                </a:cubicBezTo>
                <a:cubicBezTo>
                  <a:pt x="12" y="81"/>
                  <a:pt x="17" y="71"/>
                  <a:pt x="11" y="49"/>
                </a:cubicBezTo>
                <a:cubicBezTo>
                  <a:pt x="9" y="40"/>
                  <a:pt x="0" y="31"/>
                  <a:pt x="2" y="22"/>
                </a:cubicBezTo>
                <a:cubicBezTo>
                  <a:pt x="4" y="14"/>
                  <a:pt x="11" y="7"/>
                  <a:pt x="16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38" name="Freeform 41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7075802" y="3096745"/>
            <a:ext cx="79131" cy="85725"/>
          </a:xfrm>
          <a:custGeom>
            <a:avLst/>
            <a:gdLst>
              <a:gd name="T0" fmla="*/ 10 w 57"/>
              <a:gd name="T1" fmla="*/ 13 h 49"/>
              <a:gd name="T2" fmla="*/ 55 w 57"/>
              <a:gd name="T3" fmla="*/ 22 h 49"/>
              <a:gd name="T4" fmla="*/ 50 w 57"/>
              <a:gd name="T5" fmla="*/ 44 h 49"/>
              <a:gd name="T6" fmla="*/ 15 w 57"/>
              <a:gd name="T7" fmla="*/ 39 h 49"/>
              <a:gd name="T8" fmla="*/ 10 w 57"/>
              <a:gd name="T9" fmla="*/ 13 h 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7"/>
              <a:gd name="T16" fmla="*/ 0 h 49"/>
              <a:gd name="T17" fmla="*/ 57 w 57"/>
              <a:gd name="T18" fmla="*/ 49 h 4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7" h="49">
                <a:moveTo>
                  <a:pt x="10" y="13"/>
                </a:moveTo>
                <a:cubicBezTo>
                  <a:pt x="30" y="0"/>
                  <a:pt x="42" y="1"/>
                  <a:pt x="55" y="22"/>
                </a:cubicBezTo>
                <a:cubicBezTo>
                  <a:pt x="53" y="29"/>
                  <a:pt x="57" y="41"/>
                  <a:pt x="50" y="44"/>
                </a:cubicBezTo>
                <a:cubicBezTo>
                  <a:pt x="39" y="49"/>
                  <a:pt x="26" y="44"/>
                  <a:pt x="15" y="39"/>
                </a:cubicBezTo>
                <a:cubicBezTo>
                  <a:pt x="13" y="38"/>
                  <a:pt x="0" y="13"/>
                  <a:pt x="10" y="13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39" name="Freeform 42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6964433" y="3063404"/>
            <a:ext cx="89389" cy="63500"/>
          </a:xfrm>
          <a:custGeom>
            <a:avLst/>
            <a:gdLst>
              <a:gd name="T0" fmla="*/ 9 w 64"/>
              <a:gd name="T1" fmla="*/ 18 h 36"/>
              <a:gd name="T2" fmla="*/ 54 w 64"/>
              <a:gd name="T3" fmla="*/ 5 h 36"/>
              <a:gd name="T4" fmla="*/ 18 w 64"/>
              <a:gd name="T5" fmla="*/ 27 h 36"/>
              <a:gd name="T6" fmla="*/ 9 w 64"/>
              <a:gd name="T7" fmla="*/ 18 h 36"/>
              <a:gd name="T8" fmla="*/ 0 60000 65536"/>
              <a:gd name="T9" fmla="*/ 0 60000 65536"/>
              <a:gd name="T10" fmla="*/ 0 60000 65536"/>
              <a:gd name="T11" fmla="*/ 0 60000 65536"/>
              <a:gd name="T12" fmla="*/ 0 w 64"/>
              <a:gd name="T13" fmla="*/ 0 h 36"/>
              <a:gd name="T14" fmla="*/ 64 w 64"/>
              <a:gd name="T15" fmla="*/ 36 h 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4" h="36">
                <a:moveTo>
                  <a:pt x="9" y="18"/>
                </a:moveTo>
                <a:cubicBezTo>
                  <a:pt x="29" y="7"/>
                  <a:pt x="31" y="0"/>
                  <a:pt x="54" y="5"/>
                </a:cubicBezTo>
                <a:cubicBezTo>
                  <a:pt x="64" y="36"/>
                  <a:pt x="44" y="31"/>
                  <a:pt x="18" y="27"/>
                </a:cubicBezTo>
                <a:cubicBezTo>
                  <a:pt x="4" y="17"/>
                  <a:pt x="0" y="18"/>
                  <a:pt x="9" y="18"/>
                </a:cubicBezTo>
                <a:close/>
              </a:path>
            </a:pathLst>
          </a:custGeom>
          <a:solidFill>
            <a:srgbClr val="B2B2B2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40" name="Freeform 43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6880904" y="2830045"/>
            <a:ext cx="82062" cy="53975"/>
          </a:xfrm>
          <a:custGeom>
            <a:avLst/>
            <a:gdLst>
              <a:gd name="T0" fmla="*/ 41 w 57"/>
              <a:gd name="T1" fmla="*/ 0 h 31"/>
              <a:gd name="T2" fmla="*/ 45 w 57"/>
              <a:gd name="T3" fmla="*/ 31 h 31"/>
              <a:gd name="T4" fmla="*/ 41 w 57"/>
              <a:gd name="T5" fmla="*/ 0 h 31"/>
              <a:gd name="T6" fmla="*/ 0 60000 65536"/>
              <a:gd name="T7" fmla="*/ 0 60000 65536"/>
              <a:gd name="T8" fmla="*/ 0 60000 65536"/>
              <a:gd name="T9" fmla="*/ 0 w 57"/>
              <a:gd name="T10" fmla="*/ 0 h 31"/>
              <a:gd name="T11" fmla="*/ 57 w 57"/>
              <a:gd name="T12" fmla="*/ 31 h 3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7" h="31">
                <a:moveTo>
                  <a:pt x="41" y="0"/>
                </a:moveTo>
                <a:cubicBezTo>
                  <a:pt x="0" y="11"/>
                  <a:pt x="19" y="23"/>
                  <a:pt x="45" y="31"/>
                </a:cubicBezTo>
                <a:cubicBezTo>
                  <a:pt x="57" y="14"/>
                  <a:pt x="53" y="15"/>
                  <a:pt x="41" y="0"/>
                </a:cubicBezTo>
                <a:close/>
              </a:path>
            </a:pathLst>
          </a:custGeom>
          <a:solidFill>
            <a:srgbClr val="08205C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41" name="Freeform 44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6814961" y="2839570"/>
            <a:ext cx="29308" cy="87313"/>
          </a:xfrm>
          <a:custGeom>
            <a:avLst/>
            <a:gdLst>
              <a:gd name="T0" fmla="*/ 0 w 22"/>
              <a:gd name="T1" fmla="*/ 0 h 50"/>
              <a:gd name="T2" fmla="*/ 22 w 22"/>
              <a:gd name="T3" fmla="*/ 18 h 50"/>
              <a:gd name="T4" fmla="*/ 0 w 22"/>
              <a:gd name="T5" fmla="*/ 0 h 50"/>
              <a:gd name="T6" fmla="*/ 0 60000 65536"/>
              <a:gd name="T7" fmla="*/ 0 60000 65536"/>
              <a:gd name="T8" fmla="*/ 0 60000 65536"/>
              <a:gd name="T9" fmla="*/ 0 w 22"/>
              <a:gd name="T10" fmla="*/ 0 h 50"/>
              <a:gd name="T11" fmla="*/ 22 w 22"/>
              <a:gd name="T12" fmla="*/ 50 h 5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" h="50">
                <a:moveTo>
                  <a:pt x="0" y="0"/>
                </a:moveTo>
                <a:cubicBezTo>
                  <a:pt x="2" y="15"/>
                  <a:pt x="10" y="50"/>
                  <a:pt x="22" y="18"/>
                </a:cubicBezTo>
                <a:cubicBezTo>
                  <a:pt x="6" y="7"/>
                  <a:pt x="13" y="13"/>
                  <a:pt x="0" y="0"/>
                </a:cubicBezTo>
                <a:close/>
              </a:path>
            </a:pathLst>
          </a:custGeom>
          <a:solidFill>
            <a:srgbClr val="08205C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42" name="Freeform 45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6854529" y="2823695"/>
            <a:ext cx="42496" cy="53975"/>
          </a:xfrm>
          <a:custGeom>
            <a:avLst/>
            <a:gdLst>
              <a:gd name="T0" fmla="*/ 21 w 31"/>
              <a:gd name="T1" fmla="*/ 0 h 31"/>
              <a:gd name="T2" fmla="*/ 25 w 31"/>
              <a:gd name="T3" fmla="*/ 31 h 31"/>
              <a:gd name="T4" fmla="*/ 21 w 31"/>
              <a:gd name="T5" fmla="*/ 0 h 31"/>
              <a:gd name="T6" fmla="*/ 0 60000 65536"/>
              <a:gd name="T7" fmla="*/ 0 60000 65536"/>
              <a:gd name="T8" fmla="*/ 0 60000 65536"/>
              <a:gd name="T9" fmla="*/ 0 w 31"/>
              <a:gd name="T10" fmla="*/ 0 h 31"/>
              <a:gd name="T11" fmla="*/ 31 w 31"/>
              <a:gd name="T12" fmla="*/ 31 h 3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1" h="31">
                <a:moveTo>
                  <a:pt x="21" y="0"/>
                </a:moveTo>
                <a:cubicBezTo>
                  <a:pt x="0" y="14"/>
                  <a:pt x="0" y="23"/>
                  <a:pt x="25" y="31"/>
                </a:cubicBezTo>
                <a:cubicBezTo>
                  <a:pt x="31" y="12"/>
                  <a:pt x="31" y="22"/>
                  <a:pt x="21" y="0"/>
                </a:cubicBezTo>
                <a:close/>
              </a:path>
            </a:pathLst>
          </a:custGeom>
          <a:solidFill>
            <a:srgbClr val="08205C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43" name="Freeform 46"/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7830476" y="2237904"/>
            <a:ext cx="282819" cy="747712"/>
          </a:xfrm>
          <a:custGeom>
            <a:avLst/>
            <a:gdLst>
              <a:gd name="T0" fmla="*/ 97 w 200"/>
              <a:gd name="T1" fmla="*/ 0 h 426"/>
              <a:gd name="T2" fmla="*/ 84 w 200"/>
              <a:gd name="T3" fmla="*/ 97 h 426"/>
              <a:gd name="T4" fmla="*/ 57 w 200"/>
              <a:gd name="T5" fmla="*/ 164 h 426"/>
              <a:gd name="T6" fmla="*/ 102 w 200"/>
              <a:gd name="T7" fmla="*/ 173 h 426"/>
              <a:gd name="T8" fmla="*/ 111 w 200"/>
              <a:gd name="T9" fmla="*/ 160 h 426"/>
              <a:gd name="T10" fmla="*/ 124 w 200"/>
              <a:gd name="T11" fmla="*/ 151 h 426"/>
              <a:gd name="T12" fmla="*/ 155 w 200"/>
              <a:gd name="T13" fmla="*/ 102 h 426"/>
              <a:gd name="T14" fmla="*/ 191 w 200"/>
              <a:gd name="T15" fmla="*/ 137 h 426"/>
              <a:gd name="T16" fmla="*/ 160 w 200"/>
              <a:gd name="T17" fmla="*/ 168 h 426"/>
              <a:gd name="T18" fmla="*/ 160 w 200"/>
              <a:gd name="T19" fmla="*/ 226 h 426"/>
              <a:gd name="T20" fmla="*/ 200 w 200"/>
              <a:gd name="T21" fmla="*/ 253 h 426"/>
              <a:gd name="T22" fmla="*/ 155 w 200"/>
              <a:gd name="T23" fmla="*/ 275 h 426"/>
              <a:gd name="T24" fmla="*/ 102 w 200"/>
              <a:gd name="T25" fmla="*/ 262 h 426"/>
              <a:gd name="T26" fmla="*/ 75 w 200"/>
              <a:gd name="T27" fmla="*/ 275 h 426"/>
              <a:gd name="T28" fmla="*/ 93 w 200"/>
              <a:gd name="T29" fmla="*/ 342 h 426"/>
              <a:gd name="T30" fmla="*/ 120 w 200"/>
              <a:gd name="T31" fmla="*/ 382 h 426"/>
              <a:gd name="T32" fmla="*/ 129 w 200"/>
              <a:gd name="T33" fmla="*/ 395 h 426"/>
              <a:gd name="T34" fmla="*/ 124 w 200"/>
              <a:gd name="T35" fmla="*/ 426 h 426"/>
              <a:gd name="T36" fmla="*/ 71 w 200"/>
              <a:gd name="T37" fmla="*/ 373 h 426"/>
              <a:gd name="T38" fmla="*/ 53 w 200"/>
              <a:gd name="T39" fmla="*/ 346 h 426"/>
              <a:gd name="T40" fmla="*/ 40 w 200"/>
              <a:gd name="T41" fmla="*/ 306 h 426"/>
              <a:gd name="T42" fmla="*/ 17 w 200"/>
              <a:gd name="T43" fmla="*/ 208 h 426"/>
              <a:gd name="T44" fmla="*/ 0 w 200"/>
              <a:gd name="T45" fmla="*/ 168 h 426"/>
              <a:gd name="T46" fmla="*/ 97 w 200"/>
              <a:gd name="T47" fmla="*/ 0 h 42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00"/>
              <a:gd name="T73" fmla="*/ 0 h 426"/>
              <a:gd name="T74" fmla="*/ 200 w 200"/>
              <a:gd name="T75" fmla="*/ 426 h 42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00" h="426">
                <a:moveTo>
                  <a:pt x="97" y="0"/>
                </a:moveTo>
                <a:cubicBezTo>
                  <a:pt x="107" y="33"/>
                  <a:pt x="104" y="69"/>
                  <a:pt x="84" y="97"/>
                </a:cubicBezTo>
                <a:cubicBezTo>
                  <a:pt x="78" y="119"/>
                  <a:pt x="66" y="142"/>
                  <a:pt x="57" y="164"/>
                </a:cubicBezTo>
                <a:cubicBezTo>
                  <a:pt x="66" y="198"/>
                  <a:pt x="75" y="181"/>
                  <a:pt x="102" y="173"/>
                </a:cubicBezTo>
                <a:cubicBezTo>
                  <a:pt x="105" y="169"/>
                  <a:pt x="107" y="164"/>
                  <a:pt x="111" y="160"/>
                </a:cubicBezTo>
                <a:cubicBezTo>
                  <a:pt x="115" y="156"/>
                  <a:pt x="121" y="155"/>
                  <a:pt x="124" y="151"/>
                </a:cubicBezTo>
                <a:cubicBezTo>
                  <a:pt x="138" y="134"/>
                  <a:pt x="136" y="115"/>
                  <a:pt x="155" y="102"/>
                </a:cubicBezTo>
                <a:cubicBezTo>
                  <a:pt x="179" y="107"/>
                  <a:pt x="180" y="116"/>
                  <a:pt x="191" y="137"/>
                </a:cubicBezTo>
                <a:cubicBezTo>
                  <a:pt x="185" y="158"/>
                  <a:pt x="181" y="162"/>
                  <a:pt x="160" y="168"/>
                </a:cubicBezTo>
                <a:cubicBezTo>
                  <a:pt x="139" y="182"/>
                  <a:pt x="128" y="217"/>
                  <a:pt x="160" y="226"/>
                </a:cubicBezTo>
                <a:cubicBezTo>
                  <a:pt x="176" y="237"/>
                  <a:pt x="189" y="236"/>
                  <a:pt x="200" y="253"/>
                </a:cubicBezTo>
                <a:cubicBezTo>
                  <a:pt x="192" y="275"/>
                  <a:pt x="178" y="272"/>
                  <a:pt x="155" y="275"/>
                </a:cubicBezTo>
                <a:cubicBezTo>
                  <a:pt x="135" y="272"/>
                  <a:pt x="120" y="268"/>
                  <a:pt x="102" y="262"/>
                </a:cubicBezTo>
                <a:cubicBezTo>
                  <a:pt x="97" y="264"/>
                  <a:pt x="77" y="269"/>
                  <a:pt x="75" y="275"/>
                </a:cubicBezTo>
                <a:cubicBezTo>
                  <a:pt x="72" y="287"/>
                  <a:pt x="86" y="330"/>
                  <a:pt x="93" y="342"/>
                </a:cubicBezTo>
                <a:cubicBezTo>
                  <a:pt x="101" y="356"/>
                  <a:pt x="111" y="369"/>
                  <a:pt x="120" y="382"/>
                </a:cubicBezTo>
                <a:cubicBezTo>
                  <a:pt x="123" y="386"/>
                  <a:pt x="129" y="395"/>
                  <a:pt x="129" y="395"/>
                </a:cubicBezTo>
                <a:cubicBezTo>
                  <a:pt x="138" y="426"/>
                  <a:pt x="146" y="419"/>
                  <a:pt x="124" y="426"/>
                </a:cubicBezTo>
                <a:cubicBezTo>
                  <a:pt x="95" y="417"/>
                  <a:pt x="88" y="397"/>
                  <a:pt x="71" y="373"/>
                </a:cubicBezTo>
                <a:cubicBezTo>
                  <a:pt x="65" y="364"/>
                  <a:pt x="53" y="346"/>
                  <a:pt x="53" y="346"/>
                </a:cubicBezTo>
                <a:cubicBezTo>
                  <a:pt x="49" y="333"/>
                  <a:pt x="44" y="320"/>
                  <a:pt x="40" y="306"/>
                </a:cubicBezTo>
                <a:cubicBezTo>
                  <a:pt x="38" y="273"/>
                  <a:pt x="53" y="221"/>
                  <a:pt x="17" y="208"/>
                </a:cubicBezTo>
                <a:cubicBezTo>
                  <a:pt x="9" y="195"/>
                  <a:pt x="4" y="183"/>
                  <a:pt x="0" y="168"/>
                </a:cubicBezTo>
                <a:cubicBezTo>
                  <a:pt x="7" y="89"/>
                  <a:pt x="35" y="47"/>
                  <a:pt x="97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44" name="Freeform 47"/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7840733" y="3072933"/>
            <a:ext cx="172915" cy="193675"/>
          </a:xfrm>
          <a:custGeom>
            <a:avLst/>
            <a:gdLst>
              <a:gd name="T0" fmla="*/ 24 w 122"/>
              <a:gd name="T1" fmla="*/ 0 h 111"/>
              <a:gd name="T2" fmla="*/ 15 w 122"/>
              <a:gd name="T3" fmla="*/ 58 h 111"/>
              <a:gd name="T4" fmla="*/ 73 w 122"/>
              <a:gd name="T5" fmla="*/ 80 h 111"/>
              <a:gd name="T6" fmla="*/ 122 w 122"/>
              <a:gd name="T7" fmla="*/ 53 h 111"/>
              <a:gd name="T8" fmla="*/ 24 w 122"/>
              <a:gd name="T9" fmla="*/ 0 h 1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2"/>
              <a:gd name="T16" fmla="*/ 0 h 111"/>
              <a:gd name="T17" fmla="*/ 122 w 122"/>
              <a:gd name="T18" fmla="*/ 111 h 1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2" h="111">
                <a:moveTo>
                  <a:pt x="24" y="0"/>
                </a:moveTo>
                <a:cubicBezTo>
                  <a:pt x="0" y="16"/>
                  <a:pt x="5" y="33"/>
                  <a:pt x="15" y="58"/>
                </a:cubicBezTo>
                <a:cubicBezTo>
                  <a:pt x="22" y="111"/>
                  <a:pt x="28" y="92"/>
                  <a:pt x="73" y="80"/>
                </a:cubicBezTo>
                <a:cubicBezTo>
                  <a:pt x="93" y="66"/>
                  <a:pt x="109" y="74"/>
                  <a:pt x="122" y="53"/>
                </a:cubicBezTo>
                <a:cubicBezTo>
                  <a:pt x="110" y="22"/>
                  <a:pt x="52" y="14"/>
                  <a:pt x="24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45" name="Freeform 48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7925724" y="3423766"/>
            <a:ext cx="545123" cy="255588"/>
          </a:xfrm>
          <a:custGeom>
            <a:avLst/>
            <a:gdLst>
              <a:gd name="T0" fmla="*/ 7 w 385"/>
              <a:gd name="T1" fmla="*/ 76 h 146"/>
              <a:gd name="T2" fmla="*/ 105 w 385"/>
              <a:gd name="T3" fmla="*/ 22 h 146"/>
              <a:gd name="T4" fmla="*/ 207 w 385"/>
              <a:gd name="T5" fmla="*/ 0 h 146"/>
              <a:gd name="T6" fmla="*/ 345 w 385"/>
              <a:gd name="T7" fmla="*/ 18 h 146"/>
              <a:gd name="T8" fmla="*/ 385 w 385"/>
              <a:gd name="T9" fmla="*/ 89 h 146"/>
              <a:gd name="T10" fmla="*/ 323 w 385"/>
              <a:gd name="T11" fmla="*/ 116 h 146"/>
              <a:gd name="T12" fmla="*/ 109 w 385"/>
              <a:gd name="T13" fmla="*/ 71 h 146"/>
              <a:gd name="T14" fmla="*/ 21 w 385"/>
              <a:gd name="T15" fmla="*/ 89 h 146"/>
              <a:gd name="T16" fmla="*/ 7 w 385"/>
              <a:gd name="T17" fmla="*/ 76 h 14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85"/>
              <a:gd name="T28" fmla="*/ 0 h 146"/>
              <a:gd name="T29" fmla="*/ 385 w 385"/>
              <a:gd name="T30" fmla="*/ 146 h 14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85" h="146">
                <a:moveTo>
                  <a:pt x="7" y="76"/>
                </a:moveTo>
                <a:cubicBezTo>
                  <a:pt x="19" y="13"/>
                  <a:pt x="28" y="27"/>
                  <a:pt x="105" y="22"/>
                </a:cubicBezTo>
                <a:cubicBezTo>
                  <a:pt x="173" y="1"/>
                  <a:pt x="74" y="9"/>
                  <a:pt x="207" y="0"/>
                </a:cubicBezTo>
                <a:cubicBezTo>
                  <a:pt x="255" y="4"/>
                  <a:pt x="297" y="13"/>
                  <a:pt x="345" y="18"/>
                </a:cubicBezTo>
                <a:cubicBezTo>
                  <a:pt x="365" y="38"/>
                  <a:pt x="377" y="62"/>
                  <a:pt x="385" y="89"/>
                </a:cubicBezTo>
                <a:cubicBezTo>
                  <a:pt x="379" y="146"/>
                  <a:pt x="380" y="134"/>
                  <a:pt x="323" y="116"/>
                </a:cubicBezTo>
                <a:cubicBezTo>
                  <a:pt x="265" y="76"/>
                  <a:pt x="174" y="75"/>
                  <a:pt x="109" y="71"/>
                </a:cubicBezTo>
                <a:cubicBezTo>
                  <a:pt x="77" y="75"/>
                  <a:pt x="51" y="80"/>
                  <a:pt x="21" y="89"/>
                </a:cubicBezTo>
                <a:cubicBezTo>
                  <a:pt x="0" y="84"/>
                  <a:pt x="1" y="91"/>
                  <a:pt x="7" y="76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46" name="Freeform 49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7776256" y="2549058"/>
            <a:ext cx="41031" cy="53975"/>
          </a:xfrm>
          <a:custGeom>
            <a:avLst/>
            <a:gdLst>
              <a:gd name="T0" fmla="*/ 12 w 30"/>
              <a:gd name="T1" fmla="*/ 0 h 31"/>
              <a:gd name="T2" fmla="*/ 21 w 30"/>
              <a:gd name="T3" fmla="*/ 31 h 31"/>
              <a:gd name="T4" fmla="*/ 12 w 30"/>
              <a:gd name="T5" fmla="*/ 0 h 31"/>
              <a:gd name="T6" fmla="*/ 0 60000 65536"/>
              <a:gd name="T7" fmla="*/ 0 60000 65536"/>
              <a:gd name="T8" fmla="*/ 0 60000 65536"/>
              <a:gd name="T9" fmla="*/ 0 w 30"/>
              <a:gd name="T10" fmla="*/ 0 h 31"/>
              <a:gd name="T11" fmla="*/ 30 w 30"/>
              <a:gd name="T12" fmla="*/ 31 h 3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0" h="31">
                <a:moveTo>
                  <a:pt x="12" y="0"/>
                </a:moveTo>
                <a:cubicBezTo>
                  <a:pt x="1" y="17"/>
                  <a:pt x="0" y="25"/>
                  <a:pt x="21" y="31"/>
                </a:cubicBezTo>
                <a:cubicBezTo>
                  <a:pt x="30" y="3"/>
                  <a:pt x="12" y="24"/>
                  <a:pt x="12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47" name="Freeform 50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7805564" y="2853858"/>
            <a:ext cx="136281" cy="141287"/>
          </a:xfrm>
          <a:custGeom>
            <a:avLst/>
            <a:gdLst>
              <a:gd name="T0" fmla="*/ 40 w 97"/>
              <a:gd name="T1" fmla="*/ 0 h 80"/>
              <a:gd name="T2" fmla="*/ 75 w 97"/>
              <a:gd name="T3" fmla="*/ 49 h 80"/>
              <a:gd name="T4" fmla="*/ 35 w 97"/>
              <a:gd name="T5" fmla="*/ 66 h 80"/>
              <a:gd name="T6" fmla="*/ 40 w 97"/>
              <a:gd name="T7" fmla="*/ 0 h 80"/>
              <a:gd name="T8" fmla="*/ 0 60000 65536"/>
              <a:gd name="T9" fmla="*/ 0 60000 65536"/>
              <a:gd name="T10" fmla="*/ 0 60000 65536"/>
              <a:gd name="T11" fmla="*/ 0 60000 65536"/>
              <a:gd name="T12" fmla="*/ 0 w 97"/>
              <a:gd name="T13" fmla="*/ 0 h 80"/>
              <a:gd name="T14" fmla="*/ 97 w 97"/>
              <a:gd name="T15" fmla="*/ 80 h 8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7" h="80">
                <a:moveTo>
                  <a:pt x="40" y="0"/>
                </a:moveTo>
                <a:cubicBezTo>
                  <a:pt x="44" y="38"/>
                  <a:pt x="42" y="39"/>
                  <a:pt x="75" y="49"/>
                </a:cubicBezTo>
                <a:cubicBezTo>
                  <a:pt x="97" y="80"/>
                  <a:pt x="54" y="69"/>
                  <a:pt x="35" y="66"/>
                </a:cubicBezTo>
                <a:cubicBezTo>
                  <a:pt x="29" y="46"/>
                  <a:pt x="0" y="0"/>
                  <a:pt x="40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48" name="Freeform 51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7723502" y="2644308"/>
            <a:ext cx="89389" cy="47625"/>
          </a:xfrm>
          <a:custGeom>
            <a:avLst/>
            <a:gdLst>
              <a:gd name="T0" fmla="*/ 35 w 62"/>
              <a:gd name="T1" fmla="*/ 0 h 27"/>
              <a:gd name="T2" fmla="*/ 26 w 62"/>
              <a:gd name="T3" fmla="*/ 26 h 27"/>
              <a:gd name="T4" fmla="*/ 48 w 62"/>
              <a:gd name="T5" fmla="*/ 22 h 27"/>
              <a:gd name="T6" fmla="*/ 35 w 62"/>
              <a:gd name="T7" fmla="*/ 0 h 27"/>
              <a:gd name="T8" fmla="*/ 0 60000 65536"/>
              <a:gd name="T9" fmla="*/ 0 60000 65536"/>
              <a:gd name="T10" fmla="*/ 0 60000 65536"/>
              <a:gd name="T11" fmla="*/ 0 60000 65536"/>
              <a:gd name="T12" fmla="*/ 0 w 62"/>
              <a:gd name="T13" fmla="*/ 0 h 27"/>
              <a:gd name="T14" fmla="*/ 62 w 62"/>
              <a:gd name="T15" fmla="*/ 27 h 2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2" h="27">
                <a:moveTo>
                  <a:pt x="35" y="0"/>
                </a:moveTo>
                <a:cubicBezTo>
                  <a:pt x="11" y="5"/>
                  <a:pt x="0" y="9"/>
                  <a:pt x="26" y="26"/>
                </a:cubicBezTo>
                <a:cubicBezTo>
                  <a:pt x="33" y="25"/>
                  <a:pt x="43" y="27"/>
                  <a:pt x="48" y="22"/>
                </a:cubicBezTo>
                <a:cubicBezTo>
                  <a:pt x="62" y="9"/>
                  <a:pt x="14" y="0"/>
                  <a:pt x="35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49" name="Freeform 52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8256902" y="2682404"/>
            <a:ext cx="84992" cy="107950"/>
          </a:xfrm>
          <a:custGeom>
            <a:avLst/>
            <a:gdLst>
              <a:gd name="T0" fmla="*/ 0 w 59"/>
              <a:gd name="T1" fmla="*/ 0 h 61"/>
              <a:gd name="T2" fmla="*/ 18 w 59"/>
              <a:gd name="T3" fmla="*/ 58 h 61"/>
              <a:gd name="T4" fmla="*/ 53 w 59"/>
              <a:gd name="T5" fmla="*/ 53 h 61"/>
              <a:gd name="T6" fmla="*/ 49 w 59"/>
              <a:gd name="T7" fmla="*/ 27 h 61"/>
              <a:gd name="T8" fmla="*/ 0 w 59"/>
              <a:gd name="T9" fmla="*/ 0 h 6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9"/>
              <a:gd name="T16" fmla="*/ 0 h 61"/>
              <a:gd name="T17" fmla="*/ 59 w 59"/>
              <a:gd name="T18" fmla="*/ 61 h 6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9" h="61">
                <a:moveTo>
                  <a:pt x="0" y="0"/>
                </a:moveTo>
                <a:cubicBezTo>
                  <a:pt x="3" y="27"/>
                  <a:pt x="4" y="37"/>
                  <a:pt x="18" y="58"/>
                </a:cubicBezTo>
                <a:cubicBezTo>
                  <a:pt x="30" y="56"/>
                  <a:pt x="45" y="61"/>
                  <a:pt x="53" y="53"/>
                </a:cubicBezTo>
                <a:cubicBezTo>
                  <a:pt x="59" y="47"/>
                  <a:pt x="52" y="35"/>
                  <a:pt x="49" y="27"/>
                </a:cubicBezTo>
                <a:cubicBezTo>
                  <a:pt x="43" y="7"/>
                  <a:pt x="17" y="5"/>
                  <a:pt x="0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50" name="Freeform 53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9779438" y="4438183"/>
            <a:ext cx="202223" cy="249237"/>
          </a:xfrm>
          <a:custGeom>
            <a:avLst/>
            <a:gdLst>
              <a:gd name="T0" fmla="*/ 125 w 143"/>
              <a:gd name="T1" fmla="*/ 13 h 142"/>
              <a:gd name="T2" fmla="*/ 63 w 143"/>
              <a:gd name="T3" fmla="*/ 35 h 142"/>
              <a:gd name="T4" fmla="*/ 5 w 143"/>
              <a:gd name="T5" fmla="*/ 98 h 142"/>
              <a:gd name="T6" fmla="*/ 10 w 143"/>
              <a:gd name="T7" fmla="*/ 142 h 142"/>
              <a:gd name="T8" fmla="*/ 90 w 143"/>
              <a:gd name="T9" fmla="*/ 115 h 142"/>
              <a:gd name="T10" fmla="*/ 117 w 143"/>
              <a:gd name="T11" fmla="*/ 84 h 142"/>
              <a:gd name="T12" fmla="*/ 143 w 143"/>
              <a:gd name="T13" fmla="*/ 49 h 142"/>
              <a:gd name="T14" fmla="*/ 139 w 143"/>
              <a:gd name="T15" fmla="*/ 27 h 142"/>
              <a:gd name="T16" fmla="*/ 125 w 143"/>
              <a:gd name="T17" fmla="*/ 13 h 1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43"/>
              <a:gd name="T28" fmla="*/ 0 h 142"/>
              <a:gd name="T29" fmla="*/ 143 w 143"/>
              <a:gd name="T30" fmla="*/ 142 h 14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43" h="142">
                <a:moveTo>
                  <a:pt x="125" y="13"/>
                </a:moveTo>
                <a:cubicBezTo>
                  <a:pt x="103" y="21"/>
                  <a:pt x="83" y="23"/>
                  <a:pt x="63" y="35"/>
                </a:cubicBezTo>
                <a:cubicBezTo>
                  <a:pt x="45" y="62"/>
                  <a:pt x="28" y="75"/>
                  <a:pt x="5" y="98"/>
                </a:cubicBezTo>
                <a:cubicBezTo>
                  <a:pt x="0" y="115"/>
                  <a:pt x="4" y="126"/>
                  <a:pt x="10" y="142"/>
                </a:cubicBezTo>
                <a:cubicBezTo>
                  <a:pt x="38" y="138"/>
                  <a:pt x="66" y="131"/>
                  <a:pt x="90" y="115"/>
                </a:cubicBezTo>
                <a:cubicBezTo>
                  <a:pt x="96" y="97"/>
                  <a:pt x="99" y="90"/>
                  <a:pt x="117" y="84"/>
                </a:cubicBezTo>
                <a:cubicBezTo>
                  <a:pt x="126" y="69"/>
                  <a:pt x="138" y="66"/>
                  <a:pt x="143" y="49"/>
                </a:cubicBezTo>
                <a:cubicBezTo>
                  <a:pt x="142" y="42"/>
                  <a:pt x="143" y="33"/>
                  <a:pt x="139" y="27"/>
                </a:cubicBezTo>
                <a:cubicBezTo>
                  <a:pt x="124" y="0"/>
                  <a:pt x="125" y="29"/>
                  <a:pt x="125" y="13"/>
                </a:cubicBezTo>
                <a:close/>
              </a:path>
            </a:pathLst>
          </a:custGeom>
          <a:solidFill>
            <a:srgbClr val="A6A6A6"/>
          </a:solidFill>
          <a:ln w="19050">
            <a:noFill/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51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8539722" y="4428658"/>
            <a:ext cx="124557" cy="231775"/>
          </a:xfrm>
          <a:custGeom>
            <a:avLst/>
            <a:gdLst>
              <a:gd name="T0" fmla="*/ 40 w 88"/>
              <a:gd name="T1" fmla="*/ 0 h 132"/>
              <a:gd name="T2" fmla="*/ 13 w 88"/>
              <a:gd name="T3" fmla="*/ 49 h 132"/>
              <a:gd name="T4" fmla="*/ 0 w 88"/>
              <a:gd name="T5" fmla="*/ 89 h 132"/>
              <a:gd name="T6" fmla="*/ 49 w 88"/>
              <a:gd name="T7" fmla="*/ 94 h 132"/>
              <a:gd name="T8" fmla="*/ 76 w 88"/>
              <a:gd name="T9" fmla="*/ 63 h 132"/>
              <a:gd name="T10" fmla="*/ 40 w 88"/>
              <a:gd name="T11" fmla="*/ 0 h 13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8"/>
              <a:gd name="T19" fmla="*/ 0 h 132"/>
              <a:gd name="T20" fmla="*/ 88 w 88"/>
              <a:gd name="T21" fmla="*/ 132 h 13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8" h="132">
                <a:moveTo>
                  <a:pt x="40" y="0"/>
                </a:moveTo>
                <a:cubicBezTo>
                  <a:pt x="34" y="21"/>
                  <a:pt x="32" y="37"/>
                  <a:pt x="13" y="49"/>
                </a:cubicBezTo>
                <a:cubicBezTo>
                  <a:pt x="9" y="63"/>
                  <a:pt x="4" y="76"/>
                  <a:pt x="0" y="89"/>
                </a:cubicBezTo>
                <a:cubicBezTo>
                  <a:pt x="7" y="132"/>
                  <a:pt x="25" y="118"/>
                  <a:pt x="49" y="94"/>
                </a:cubicBezTo>
                <a:cubicBezTo>
                  <a:pt x="55" y="74"/>
                  <a:pt x="64" y="80"/>
                  <a:pt x="76" y="63"/>
                </a:cubicBezTo>
                <a:cubicBezTo>
                  <a:pt x="88" y="20"/>
                  <a:pt x="68" y="19"/>
                  <a:pt x="40" y="0"/>
                </a:cubicBezTo>
                <a:close/>
              </a:path>
            </a:pathLst>
          </a:custGeom>
          <a:solidFill>
            <a:srgbClr val="A6A6A6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52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9418082" y="3046615"/>
            <a:ext cx="193431" cy="87313"/>
          </a:xfrm>
          <a:custGeom>
            <a:avLst/>
            <a:gdLst>
              <a:gd name="T0" fmla="*/ 17 w 138"/>
              <a:gd name="T1" fmla="*/ 0 h 49"/>
              <a:gd name="T2" fmla="*/ 106 w 138"/>
              <a:gd name="T3" fmla="*/ 13 h 49"/>
              <a:gd name="T4" fmla="*/ 128 w 138"/>
              <a:gd name="T5" fmla="*/ 49 h 49"/>
              <a:gd name="T6" fmla="*/ 13 w 138"/>
              <a:gd name="T7" fmla="*/ 27 h 49"/>
              <a:gd name="T8" fmla="*/ 17 w 138"/>
              <a:gd name="T9" fmla="*/ 0 h 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8"/>
              <a:gd name="T16" fmla="*/ 0 h 49"/>
              <a:gd name="T17" fmla="*/ 138 w 138"/>
              <a:gd name="T18" fmla="*/ 49 h 4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8" h="49">
                <a:moveTo>
                  <a:pt x="17" y="0"/>
                </a:moveTo>
                <a:cubicBezTo>
                  <a:pt x="46" y="9"/>
                  <a:pt x="77" y="4"/>
                  <a:pt x="106" y="13"/>
                </a:cubicBezTo>
                <a:cubicBezTo>
                  <a:pt x="138" y="34"/>
                  <a:pt x="136" y="21"/>
                  <a:pt x="128" y="49"/>
                </a:cubicBezTo>
                <a:cubicBezTo>
                  <a:pt x="49" y="43"/>
                  <a:pt x="68" y="40"/>
                  <a:pt x="13" y="27"/>
                </a:cubicBezTo>
                <a:cubicBezTo>
                  <a:pt x="1" y="8"/>
                  <a:pt x="0" y="17"/>
                  <a:pt x="17" y="0"/>
                </a:cubicBezTo>
                <a:close/>
              </a:path>
            </a:pathLst>
          </a:custGeom>
          <a:solidFill>
            <a:srgbClr val="A6A6A6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53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9514624" y="2661864"/>
            <a:ext cx="134815" cy="101600"/>
          </a:xfrm>
          <a:custGeom>
            <a:avLst/>
            <a:gdLst>
              <a:gd name="T0" fmla="*/ 2 w 95"/>
              <a:gd name="T1" fmla="*/ 4 h 58"/>
              <a:gd name="T2" fmla="*/ 33 w 95"/>
              <a:gd name="T3" fmla="*/ 58 h 58"/>
              <a:gd name="T4" fmla="*/ 86 w 95"/>
              <a:gd name="T5" fmla="*/ 53 h 58"/>
              <a:gd name="T6" fmla="*/ 86 w 95"/>
              <a:gd name="T7" fmla="*/ 22 h 58"/>
              <a:gd name="T8" fmla="*/ 19 w 95"/>
              <a:gd name="T9" fmla="*/ 0 h 58"/>
              <a:gd name="T10" fmla="*/ 2 w 95"/>
              <a:gd name="T11" fmla="*/ 4 h 5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5"/>
              <a:gd name="T19" fmla="*/ 0 h 58"/>
              <a:gd name="T20" fmla="*/ 95 w 95"/>
              <a:gd name="T21" fmla="*/ 58 h 5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5" h="58">
                <a:moveTo>
                  <a:pt x="2" y="4"/>
                </a:moveTo>
                <a:cubicBezTo>
                  <a:pt x="6" y="44"/>
                  <a:pt x="0" y="46"/>
                  <a:pt x="33" y="58"/>
                </a:cubicBezTo>
                <a:cubicBezTo>
                  <a:pt x="51" y="56"/>
                  <a:pt x="69" y="58"/>
                  <a:pt x="86" y="53"/>
                </a:cubicBezTo>
                <a:cubicBezTo>
                  <a:pt x="95" y="50"/>
                  <a:pt x="87" y="23"/>
                  <a:pt x="86" y="22"/>
                </a:cubicBezTo>
                <a:cubicBezTo>
                  <a:pt x="83" y="18"/>
                  <a:pt x="27" y="2"/>
                  <a:pt x="19" y="0"/>
                </a:cubicBezTo>
                <a:cubicBezTo>
                  <a:pt x="13" y="1"/>
                  <a:pt x="2" y="4"/>
                  <a:pt x="2" y="4"/>
                </a:cubicBezTo>
                <a:close/>
              </a:path>
            </a:pathLst>
          </a:custGeom>
          <a:solidFill>
            <a:srgbClr val="A6A6A6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54" name="Freeform 58"/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8475245" y="4619158"/>
            <a:ext cx="58615" cy="104775"/>
          </a:xfrm>
          <a:custGeom>
            <a:avLst/>
            <a:gdLst>
              <a:gd name="T0" fmla="*/ 7 w 43"/>
              <a:gd name="T1" fmla="*/ 35 h 60"/>
              <a:gd name="T2" fmla="*/ 43 w 43"/>
              <a:gd name="T3" fmla="*/ 35 h 60"/>
              <a:gd name="T4" fmla="*/ 7 w 43"/>
              <a:gd name="T5" fmla="*/ 52 h 60"/>
              <a:gd name="T6" fmla="*/ 7 w 43"/>
              <a:gd name="T7" fmla="*/ 35 h 60"/>
              <a:gd name="T8" fmla="*/ 0 60000 65536"/>
              <a:gd name="T9" fmla="*/ 0 60000 65536"/>
              <a:gd name="T10" fmla="*/ 0 60000 65536"/>
              <a:gd name="T11" fmla="*/ 0 60000 65536"/>
              <a:gd name="T12" fmla="*/ 0 w 43"/>
              <a:gd name="T13" fmla="*/ 0 h 60"/>
              <a:gd name="T14" fmla="*/ 43 w 43"/>
              <a:gd name="T15" fmla="*/ 60 h 6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3" h="60">
                <a:moveTo>
                  <a:pt x="7" y="35"/>
                </a:moveTo>
                <a:cubicBezTo>
                  <a:pt x="15" y="0"/>
                  <a:pt x="29" y="13"/>
                  <a:pt x="43" y="35"/>
                </a:cubicBezTo>
                <a:cubicBezTo>
                  <a:pt x="36" y="57"/>
                  <a:pt x="29" y="60"/>
                  <a:pt x="7" y="52"/>
                </a:cubicBezTo>
                <a:cubicBezTo>
                  <a:pt x="2" y="37"/>
                  <a:pt x="0" y="42"/>
                  <a:pt x="7" y="35"/>
                </a:cubicBezTo>
                <a:close/>
              </a:path>
            </a:pathLst>
          </a:custGeom>
          <a:solidFill>
            <a:srgbClr val="B2B2B2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55" name="Freeform 5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9137599" y="4023843"/>
            <a:ext cx="73269" cy="119063"/>
          </a:xfrm>
          <a:custGeom>
            <a:avLst/>
            <a:gdLst>
              <a:gd name="T0" fmla="*/ 7 w 52"/>
              <a:gd name="T1" fmla="*/ 0 h 68"/>
              <a:gd name="T2" fmla="*/ 52 w 52"/>
              <a:gd name="T3" fmla="*/ 58 h 68"/>
              <a:gd name="T4" fmla="*/ 43 w 52"/>
              <a:gd name="T5" fmla="*/ 23 h 68"/>
              <a:gd name="T6" fmla="*/ 7 w 52"/>
              <a:gd name="T7" fmla="*/ 0 h 68"/>
              <a:gd name="T8" fmla="*/ 0 60000 65536"/>
              <a:gd name="T9" fmla="*/ 0 60000 65536"/>
              <a:gd name="T10" fmla="*/ 0 60000 65536"/>
              <a:gd name="T11" fmla="*/ 0 60000 65536"/>
              <a:gd name="T12" fmla="*/ 0 w 52"/>
              <a:gd name="T13" fmla="*/ 0 h 68"/>
              <a:gd name="T14" fmla="*/ 52 w 52"/>
              <a:gd name="T15" fmla="*/ 68 h 6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2" h="68">
                <a:moveTo>
                  <a:pt x="7" y="0"/>
                </a:moveTo>
                <a:cubicBezTo>
                  <a:pt x="12" y="61"/>
                  <a:pt x="0" y="68"/>
                  <a:pt x="52" y="58"/>
                </a:cubicBezTo>
                <a:cubicBezTo>
                  <a:pt x="49" y="46"/>
                  <a:pt x="51" y="32"/>
                  <a:pt x="43" y="23"/>
                </a:cubicBezTo>
                <a:cubicBezTo>
                  <a:pt x="34" y="12"/>
                  <a:pt x="17" y="10"/>
                  <a:pt x="7" y="0"/>
                </a:cubicBezTo>
                <a:close/>
              </a:path>
            </a:pathLst>
          </a:custGeom>
          <a:solidFill>
            <a:srgbClr val="A6A6A6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56" name="Freeform 6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8812281" y="4047656"/>
            <a:ext cx="52754" cy="85725"/>
          </a:xfrm>
          <a:custGeom>
            <a:avLst/>
            <a:gdLst>
              <a:gd name="T0" fmla="*/ 16 w 37"/>
              <a:gd name="T1" fmla="*/ 0 h 49"/>
              <a:gd name="T2" fmla="*/ 25 w 37"/>
              <a:gd name="T3" fmla="*/ 49 h 49"/>
              <a:gd name="T4" fmla="*/ 34 w 37"/>
              <a:gd name="T5" fmla="*/ 35 h 49"/>
              <a:gd name="T6" fmla="*/ 16 w 37"/>
              <a:gd name="T7" fmla="*/ 0 h 49"/>
              <a:gd name="T8" fmla="*/ 0 60000 65536"/>
              <a:gd name="T9" fmla="*/ 0 60000 65536"/>
              <a:gd name="T10" fmla="*/ 0 60000 65536"/>
              <a:gd name="T11" fmla="*/ 0 60000 65536"/>
              <a:gd name="T12" fmla="*/ 0 w 37"/>
              <a:gd name="T13" fmla="*/ 0 h 49"/>
              <a:gd name="T14" fmla="*/ 37 w 37"/>
              <a:gd name="T15" fmla="*/ 49 h 4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7" h="49">
                <a:moveTo>
                  <a:pt x="16" y="0"/>
                </a:moveTo>
                <a:cubicBezTo>
                  <a:pt x="3" y="19"/>
                  <a:pt x="0" y="40"/>
                  <a:pt x="25" y="49"/>
                </a:cubicBezTo>
                <a:cubicBezTo>
                  <a:pt x="28" y="44"/>
                  <a:pt x="33" y="41"/>
                  <a:pt x="34" y="35"/>
                </a:cubicBezTo>
                <a:cubicBezTo>
                  <a:pt x="37" y="14"/>
                  <a:pt x="16" y="17"/>
                  <a:pt x="16" y="0"/>
                </a:cubicBezTo>
                <a:close/>
              </a:path>
            </a:pathLst>
          </a:custGeom>
          <a:solidFill>
            <a:srgbClr val="A6A6A6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57" name="Freeform 6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9086308" y="4233391"/>
            <a:ext cx="90854" cy="134938"/>
          </a:xfrm>
          <a:custGeom>
            <a:avLst/>
            <a:gdLst>
              <a:gd name="T0" fmla="*/ 0 w 65"/>
              <a:gd name="T1" fmla="*/ 0 h 76"/>
              <a:gd name="T2" fmla="*/ 9 w 65"/>
              <a:gd name="T3" fmla="*/ 63 h 76"/>
              <a:gd name="T4" fmla="*/ 53 w 65"/>
              <a:gd name="T5" fmla="*/ 76 h 76"/>
              <a:gd name="T6" fmla="*/ 0 w 65"/>
              <a:gd name="T7" fmla="*/ 0 h 76"/>
              <a:gd name="T8" fmla="*/ 0 60000 65536"/>
              <a:gd name="T9" fmla="*/ 0 60000 65536"/>
              <a:gd name="T10" fmla="*/ 0 60000 65536"/>
              <a:gd name="T11" fmla="*/ 0 60000 65536"/>
              <a:gd name="T12" fmla="*/ 0 w 65"/>
              <a:gd name="T13" fmla="*/ 0 h 76"/>
              <a:gd name="T14" fmla="*/ 65 w 65"/>
              <a:gd name="T15" fmla="*/ 76 h 7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5" h="76">
                <a:moveTo>
                  <a:pt x="0" y="0"/>
                </a:moveTo>
                <a:cubicBezTo>
                  <a:pt x="1" y="4"/>
                  <a:pt x="7" y="60"/>
                  <a:pt x="9" y="63"/>
                </a:cubicBezTo>
                <a:cubicBezTo>
                  <a:pt x="12" y="69"/>
                  <a:pt x="46" y="73"/>
                  <a:pt x="53" y="76"/>
                </a:cubicBezTo>
                <a:cubicBezTo>
                  <a:pt x="65" y="36"/>
                  <a:pt x="29" y="18"/>
                  <a:pt x="0" y="0"/>
                </a:cubicBezTo>
                <a:close/>
              </a:path>
            </a:pathLst>
          </a:custGeom>
          <a:solidFill>
            <a:srgbClr val="A6A6A6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58" name="Freeform 6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847453" y="3996854"/>
            <a:ext cx="73269" cy="144462"/>
          </a:xfrm>
          <a:custGeom>
            <a:avLst/>
            <a:gdLst>
              <a:gd name="T0" fmla="*/ 18 w 52"/>
              <a:gd name="T1" fmla="*/ 33 h 82"/>
              <a:gd name="T2" fmla="*/ 49 w 52"/>
              <a:gd name="T3" fmla="*/ 24 h 82"/>
              <a:gd name="T4" fmla="*/ 40 w 52"/>
              <a:gd name="T5" fmla="*/ 78 h 82"/>
              <a:gd name="T6" fmla="*/ 26 w 52"/>
              <a:gd name="T7" fmla="*/ 82 h 82"/>
              <a:gd name="T8" fmla="*/ 18 w 52"/>
              <a:gd name="T9" fmla="*/ 33 h 8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2"/>
              <a:gd name="T16" fmla="*/ 0 h 82"/>
              <a:gd name="T17" fmla="*/ 52 w 52"/>
              <a:gd name="T18" fmla="*/ 82 h 8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2" h="82">
                <a:moveTo>
                  <a:pt x="18" y="33"/>
                </a:moveTo>
                <a:cubicBezTo>
                  <a:pt x="39" y="18"/>
                  <a:pt x="33" y="0"/>
                  <a:pt x="49" y="24"/>
                </a:cubicBezTo>
                <a:cubicBezTo>
                  <a:pt x="52" y="35"/>
                  <a:pt x="49" y="69"/>
                  <a:pt x="40" y="78"/>
                </a:cubicBezTo>
                <a:cubicBezTo>
                  <a:pt x="37" y="81"/>
                  <a:pt x="31" y="81"/>
                  <a:pt x="26" y="82"/>
                </a:cubicBezTo>
                <a:cubicBezTo>
                  <a:pt x="0" y="74"/>
                  <a:pt x="10" y="53"/>
                  <a:pt x="18" y="33"/>
                </a:cubicBezTo>
                <a:close/>
              </a:path>
            </a:pathLst>
          </a:custGeom>
          <a:solidFill>
            <a:srgbClr val="A6A6A6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59" name="Freeform 63"/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9086308" y="4173070"/>
            <a:ext cx="84992" cy="100013"/>
          </a:xfrm>
          <a:custGeom>
            <a:avLst/>
            <a:gdLst>
              <a:gd name="T0" fmla="*/ 0 w 61"/>
              <a:gd name="T1" fmla="*/ 0 h 57"/>
              <a:gd name="T2" fmla="*/ 26 w 61"/>
              <a:gd name="T3" fmla="*/ 35 h 57"/>
              <a:gd name="T4" fmla="*/ 44 w 61"/>
              <a:gd name="T5" fmla="*/ 9 h 57"/>
              <a:gd name="T6" fmla="*/ 0 w 61"/>
              <a:gd name="T7" fmla="*/ 0 h 57"/>
              <a:gd name="T8" fmla="*/ 0 60000 65536"/>
              <a:gd name="T9" fmla="*/ 0 60000 65536"/>
              <a:gd name="T10" fmla="*/ 0 60000 65536"/>
              <a:gd name="T11" fmla="*/ 0 60000 65536"/>
              <a:gd name="T12" fmla="*/ 0 w 61"/>
              <a:gd name="T13" fmla="*/ 0 h 57"/>
              <a:gd name="T14" fmla="*/ 61 w 61"/>
              <a:gd name="T15" fmla="*/ 57 h 5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1" h="57">
                <a:moveTo>
                  <a:pt x="0" y="0"/>
                </a:moveTo>
                <a:cubicBezTo>
                  <a:pt x="4" y="20"/>
                  <a:pt x="6" y="29"/>
                  <a:pt x="26" y="35"/>
                </a:cubicBezTo>
                <a:cubicBezTo>
                  <a:pt x="60" y="57"/>
                  <a:pt x="61" y="26"/>
                  <a:pt x="44" y="9"/>
                </a:cubicBezTo>
                <a:cubicBezTo>
                  <a:pt x="35" y="0"/>
                  <a:pt x="12" y="0"/>
                  <a:pt x="0" y="0"/>
                </a:cubicBezTo>
                <a:close/>
              </a:path>
            </a:pathLst>
          </a:custGeom>
          <a:solidFill>
            <a:srgbClr val="A6A6A6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60" name="Freeform 64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9172767" y="4147670"/>
            <a:ext cx="57150" cy="74613"/>
          </a:xfrm>
          <a:custGeom>
            <a:avLst/>
            <a:gdLst>
              <a:gd name="T0" fmla="*/ 0 w 40"/>
              <a:gd name="T1" fmla="*/ 0 h 42"/>
              <a:gd name="T2" fmla="*/ 40 w 40"/>
              <a:gd name="T3" fmla="*/ 36 h 42"/>
              <a:gd name="T4" fmla="*/ 0 w 40"/>
              <a:gd name="T5" fmla="*/ 0 h 42"/>
              <a:gd name="T6" fmla="*/ 0 60000 65536"/>
              <a:gd name="T7" fmla="*/ 0 60000 65536"/>
              <a:gd name="T8" fmla="*/ 0 60000 65536"/>
              <a:gd name="T9" fmla="*/ 0 w 40"/>
              <a:gd name="T10" fmla="*/ 0 h 42"/>
              <a:gd name="T11" fmla="*/ 40 w 40"/>
              <a:gd name="T12" fmla="*/ 42 h 4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0" h="42">
                <a:moveTo>
                  <a:pt x="0" y="0"/>
                </a:moveTo>
                <a:cubicBezTo>
                  <a:pt x="5" y="36"/>
                  <a:pt x="3" y="42"/>
                  <a:pt x="40" y="36"/>
                </a:cubicBezTo>
                <a:cubicBezTo>
                  <a:pt x="33" y="10"/>
                  <a:pt x="27" y="6"/>
                  <a:pt x="0" y="0"/>
                </a:cubicBezTo>
                <a:close/>
              </a:path>
            </a:pathLst>
          </a:custGeom>
          <a:solidFill>
            <a:srgbClr val="A6A6A6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61" name="Freeform 65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9286893" y="2794548"/>
            <a:ext cx="70338" cy="55563"/>
          </a:xfrm>
          <a:custGeom>
            <a:avLst/>
            <a:gdLst>
              <a:gd name="T0" fmla="*/ 32 w 51"/>
              <a:gd name="T1" fmla="*/ 0 h 31"/>
              <a:gd name="T2" fmla="*/ 32 w 51"/>
              <a:gd name="T3" fmla="*/ 31 h 31"/>
              <a:gd name="T4" fmla="*/ 32 w 51"/>
              <a:gd name="T5" fmla="*/ 0 h 31"/>
              <a:gd name="T6" fmla="*/ 0 60000 65536"/>
              <a:gd name="T7" fmla="*/ 0 60000 65536"/>
              <a:gd name="T8" fmla="*/ 0 60000 65536"/>
              <a:gd name="T9" fmla="*/ 0 w 51"/>
              <a:gd name="T10" fmla="*/ 0 h 31"/>
              <a:gd name="T11" fmla="*/ 51 w 51"/>
              <a:gd name="T12" fmla="*/ 31 h 3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1" h="31">
                <a:moveTo>
                  <a:pt x="32" y="0"/>
                </a:moveTo>
                <a:cubicBezTo>
                  <a:pt x="0" y="9"/>
                  <a:pt x="11" y="17"/>
                  <a:pt x="32" y="31"/>
                </a:cubicBezTo>
                <a:cubicBezTo>
                  <a:pt x="51" y="19"/>
                  <a:pt x="47" y="15"/>
                  <a:pt x="32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62" name="Freeform 66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9288533" y="3064991"/>
            <a:ext cx="51289" cy="65088"/>
          </a:xfrm>
          <a:custGeom>
            <a:avLst/>
            <a:gdLst>
              <a:gd name="T0" fmla="*/ 3 w 38"/>
              <a:gd name="T1" fmla="*/ 0 h 37"/>
              <a:gd name="T2" fmla="*/ 8 w 38"/>
              <a:gd name="T3" fmla="*/ 31 h 37"/>
              <a:gd name="T4" fmla="*/ 34 w 38"/>
              <a:gd name="T5" fmla="*/ 26 h 37"/>
              <a:gd name="T6" fmla="*/ 30 w 38"/>
              <a:gd name="T7" fmla="*/ 9 h 37"/>
              <a:gd name="T8" fmla="*/ 3 w 38"/>
              <a:gd name="T9" fmla="*/ 0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8"/>
              <a:gd name="T16" fmla="*/ 0 h 37"/>
              <a:gd name="T17" fmla="*/ 38 w 38"/>
              <a:gd name="T18" fmla="*/ 37 h 3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8" h="37">
                <a:moveTo>
                  <a:pt x="3" y="0"/>
                </a:moveTo>
                <a:cubicBezTo>
                  <a:pt x="5" y="10"/>
                  <a:pt x="0" y="24"/>
                  <a:pt x="8" y="31"/>
                </a:cubicBezTo>
                <a:cubicBezTo>
                  <a:pt x="15" y="37"/>
                  <a:pt x="28" y="32"/>
                  <a:pt x="34" y="26"/>
                </a:cubicBezTo>
                <a:cubicBezTo>
                  <a:pt x="38" y="22"/>
                  <a:pt x="34" y="14"/>
                  <a:pt x="30" y="9"/>
                </a:cubicBezTo>
                <a:cubicBezTo>
                  <a:pt x="28" y="7"/>
                  <a:pt x="5" y="1"/>
                  <a:pt x="3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63" name="Freeform 67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8377063" y="2768133"/>
            <a:ext cx="191966" cy="109537"/>
          </a:xfrm>
          <a:custGeom>
            <a:avLst/>
            <a:gdLst>
              <a:gd name="T0" fmla="*/ 27 w 137"/>
              <a:gd name="T1" fmla="*/ 0 h 62"/>
              <a:gd name="T2" fmla="*/ 5 w 137"/>
              <a:gd name="T3" fmla="*/ 22 h 62"/>
              <a:gd name="T4" fmla="*/ 63 w 137"/>
              <a:gd name="T5" fmla="*/ 62 h 62"/>
              <a:gd name="T6" fmla="*/ 125 w 137"/>
              <a:gd name="T7" fmla="*/ 35 h 62"/>
              <a:gd name="T8" fmla="*/ 116 w 137"/>
              <a:gd name="T9" fmla="*/ 0 h 62"/>
              <a:gd name="T10" fmla="*/ 27 w 137"/>
              <a:gd name="T11" fmla="*/ 0 h 6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37"/>
              <a:gd name="T19" fmla="*/ 0 h 62"/>
              <a:gd name="T20" fmla="*/ 137 w 137"/>
              <a:gd name="T21" fmla="*/ 62 h 6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37" h="62">
                <a:moveTo>
                  <a:pt x="27" y="0"/>
                </a:moveTo>
                <a:cubicBezTo>
                  <a:pt x="20" y="5"/>
                  <a:pt x="7" y="12"/>
                  <a:pt x="5" y="22"/>
                </a:cubicBezTo>
                <a:cubicBezTo>
                  <a:pt x="0" y="46"/>
                  <a:pt x="46" y="57"/>
                  <a:pt x="63" y="62"/>
                </a:cubicBezTo>
                <a:cubicBezTo>
                  <a:pt x="87" y="58"/>
                  <a:pt x="103" y="44"/>
                  <a:pt x="125" y="35"/>
                </a:cubicBezTo>
                <a:cubicBezTo>
                  <a:pt x="137" y="18"/>
                  <a:pt x="137" y="7"/>
                  <a:pt x="116" y="0"/>
                </a:cubicBezTo>
                <a:cubicBezTo>
                  <a:pt x="45" y="5"/>
                  <a:pt x="74" y="7"/>
                  <a:pt x="27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64" name="Freeform 68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8296468" y="3158658"/>
            <a:ext cx="124557" cy="141287"/>
          </a:xfrm>
          <a:custGeom>
            <a:avLst/>
            <a:gdLst>
              <a:gd name="T0" fmla="*/ 8 w 88"/>
              <a:gd name="T1" fmla="*/ 22 h 81"/>
              <a:gd name="T2" fmla="*/ 48 w 88"/>
              <a:gd name="T3" fmla="*/ 0 h 81"/>
              <a:gd name="T4" fmla="*/ 88 w 88"/>
              <a:gd name="T5" fmla="*/ 31 h 81"/>
              <a:gd name="T6" fmla="*/ 8 w 88"/>
              <a:gd name="T7" fmla="*/ 40 h 81"/>
              <a:gd name="T8" fmla="*/ 8 w 88"/>
              <a:gd name="T9" fmla="*/ 22 h 8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8"/>
              <a:gd name="T16" fmla="*/ 0 h 81"/>
              <a:gd name="T17" fmla="*/ 88 w 88"/>
              <a:gd name="T18" fmla="*/ 81 h 8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8" h="81">
                <a:moveTo>
                  <a:pt x="8" y="22"/>
                </a:moveTo>
                <a:cubicBezTo>
                  <a:pt x="15" y="1"/>
                  <a:pt x="27" y="4"/>
                  <a:pt x="48" y="0"/>
                </a:cubicBezTo>
                <a:cubicBezTo>
                  <a:pt x="66" y="6"/>
                  <a:pt x="74" y="18"/>
                  <a:pt x="88" y="31"/>
                </a:cubicBezTo>
                <a:cubicBezTo>
                  <a:pt x="77" y="81"/>
                  <a:pt x="41" y="50"/>
                  <a:pt x="8" y="40"/>
                </a:cubicBezTo>
                <a:cubicBezTo>
                  <a:pt x="2" y="25"/>
                  <a:pt x="0" y="30"/>
                  <a:pt x="8" y="22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65" name="Freeform 69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8401974" y="2915766"/>
            <a:ext cx="121626" cy="69850"/>
          </a:xfrm>
          <a:custGeom>
            <a:avLst/>
            <a:gdLst>
              <a:gd name="T0" fmla="*/ 13 w 85"/>
              <a:gd name="T1" fmla="*/ 18 h 40"/>
              <a:gd name="T2" fmla="*/ 57 w 85"/>
              <a:gd name="T3" fmla="*/ 0 h 40"/>
              <a:gd name="T4" fmla="*/ 39 w 85"/>
              <a:gd name="T5" fmla="*/ 40 h 40"/>
              <a:gd name="T6" fmla="*/ 13 w 85"/>
              <a:gd name="T7" fmla="*/ 36 h 40"/>
              <a:gd name="T8" fmla="*/ 8 w 85"/>
              <a:gd name="T9" fmla="*/ 22 h 40"/>
              <a:gd name="T10" fmla="*/ 4 w 85"/>
              <a:gd name="T11" fmla="*/ 9 h 40"/>
              <a:gd name="T12" fmla="*/ 13 w 85"/>
              <a:gd name="T13" fmla="*/ 18 h 4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5"/>
              <a:gd name="T22" fmla="*/ 0 h 40"/>
              <a:gd name="T23" fmla="*/ 85 w 85"/>
              <a:gd name="T24" fmla="*/ 40 h 4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5" h="40">
                <a:moveTo>
                  <a:pt x="13" y="18"/>
                </a:moveTo>
                <a:cubicBezTo>
                  <a:pt x="49" y="8"/>
                  <a:pt x="35" y="15"/>
                  <a:pt x="57" y="0"/>
                </a:cubicBezTo>
                <a:cubicBezTo>
                  <a:pt x="85" y="30"/>
                  <a:pt x="74" y="35"/>
                  <a:pt x="39" y="40"/>
                </a:cubicBezTo>
                <a:cubicBezTo>
                  <a:pt x="30" y="39"/>
                  <a:pt x="21" y="40"/>
                  <a:pt x="13" y="36"/>
                </a:cubicBezTo>
                <a:cubicBezTo>
                  <a:pt x="9" y="34"/>
                  <a:pt x="10" y="27"/>
                  <a:pt x="8" y="22"/>
                </a:cubicBezTo>
                <a:cubicBezTo>
                  <a:pt x="7" y="18"/>
                  <a:pt x="0" y="12"/>
                  <a:pt x="4" y="9"/>
                </a:cubicBezTo>
                <a:cubicBezTo>
                  <a:pt x="7" y="6"/>
                  <a:pt x="10" y="15"/>
                  <a:pt x="13" y="18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66" name="Freeform 70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8356546" y="3033245"/>
            <a:ext cx="95250" cy="85725"/>
          </a:xfrm>
          <a:custGeom>
            <a:avLst/>
            <a:gdLst>
              <a:gd name="T0" fmla="*/ 32 w 67"/>
              <a:gd name="T1" fmla="*/ 0 h 49"/>
              <a:gd name="T2" fmla="*/ 14 w 67"/>
              <a:gd name="T3" fmla="*/ 40 h 49"/>
              <a:gd name="T4" fmla="*/ 41 w 67"/>
              <a:gd name="T5" fmla="*/ 49 h 49"/>
              <a:gd name="T6" fmla="*/ 54 w 67"/>
              <a:gd name="T7" fmla="*/ 9 h 49"/>
              <a:gd name="T8" fmla="*/ 32 w 67"/>
              <a:gd name="T9" fmla="*/ 0 h 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7"/>
              <a:gd name="T16" fmla="*/ 0 h 49"/>
              <a:gd name="T17" fmla="*/ 67 w 67"/>
              <a:gd name="T18" fmla="*/ 49 h 4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7" h="49">
                <a:moveTo>
                  <a:pt x="32" y="0"/>
                </a:moveTo>
                <a:cubicBezTo>
                  <a:pt x="15" y="5"/>
                  <a:pt x="0" y="19"/>
                  <a:pt x="14" y="40"/>
                </a:cubicBezTo>
                <a:cubicBezTo>
                  <a:pt x="19" y="48"/>
                  <a:pt x="32" y="46"/>
                  <a:pt x="41" y="49"/>
                </a:cubicBezTo>
                <a:cubicBezTo>
                  <a:pt x="58" y="42"/>
                  <a:pt x="67" y="29"/>
                  <a:pt x="54" y="9"/>
                </a:cubicBezTo>
                <a:cubicBezTo>
                  <a:pt x="50" y="2"/>
                  <a:pt x="39" y="3"/>
                  <a:pt x="32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67" name="Freeform 71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956499" y="3576170"/>
            <a:ext cx="71803" cy="100013"/>
          </a:xfrm>
          <a:custGeom>
            <a:avLst/>
            <a:gdLst>
              <a:gd name="T0" fmla="*/ 4 w 50"/>
              <a:gd name="T1" fmla="*/ 46 h 57"/>
              <a:gd name="T2" fmla="*/ 8 w 50"/>
              <a:gd name="T3" fmla="*/ 15 h 57"/>
              <a:gd name="T4" fmla="*/ 44 w 50"/>
              <a:gd name="T5" fmla="*/ 33 h 57"/>
              <a:gd name="T6" fmla="*/ 22 w 50"/>
              <a:gd name="T7" fmla="*/ 55 h 57"/>
              <a:gd name="T8" fmla="*/ 4 w 50"/>
              <a:gd name="T9" fmla="*/ 46 h 5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0"/>
              <a:gd name="T16" fmla="*/ 0 h 57"/>
              <a:gd name="T17" fmla="*/ 50 w 50"/>
              <a:gd name="T18" fmla="*/ 57 h 5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0" h="57">
                <a:moveTo>
                  <a:pt x="4" y="46"/>
                </a:moveTo>
                <a:cubicBezTo>
                  <a:pt x="5" y="36"/>
                  <a:pt x="0" y="22"/>
                  <a:pt x="8" y="15"/>
                </a:cubicBezTo>
                <a:cubicBezTo>
                  <a:pt x="26" y="0"/>
                  <a:pt x="38" y="24"/>
                  <a:pt x="44" y="33"/>
                </a:cubicBezTo>
                <a:cubicBezTo>
                  <a:pt x="50" y="53"/>
                  <a:pt x="39" y="50"/>
                  <a:pt x="22" y="55"/>
                </a:cubicBezTo>
                <a:cubicBezTo>
                  <a:pt x="2" y="51"/>
                  <a:pt x="4" y="57"/>
                  <a:pt x="4" y="46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68" name="Freeform 72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8016577" y="3617445"/>
            <a:ext cx="105508" cy="47625"/>
          </a:xfrm>
          <a:custGeom>
            <a:avLst/>
            <a:gdLst>
              <a:gd name="T0" fmla="*/ 42 w 74"/>
              <a:gd name="T1" fmla="*/ 0 h 27"/>
              <a:gd name="T2" fmla="*/ 51 w 74"/>
              <a:gd name="T3" fmla="*/ 27 h 27"/>
              <a:gd name="T4" fmla="*/ 42 w 74"/>
              <a:gd name="T5" fmla="*/ 0 h 27"/>
              <a:gd name="T6" fmla="*/ 0 60000 65536"/>
              <a:gd name="T7" fmla="*/ 0 60000 65536"/>
              <a:gd name="T8" fmla="*/ 0 60000 65536"/>
              <a:gd name="T9" fmla="*/ 0 w 74"/>
              <a:gd name="T10" fmla="*/ 0 h 27"/>
              <a:gd name="T11" fmla="*/ 74 w 74"/>
              <a:gd name="T12" fmla="*/ 27 h 2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74" h="27">
                <a:moveTo>
                  <a:pt x="42" y="0"/>
                </a:moveTo>
                <a:cubicBezTo>
                  <a:pt x="62" y="8"/>
                  <a:pt x="74" y="11"/>
                  <a:pt x="51" y="27"/>
                </a:cubicBezTo>
                <a:cubicBezTo>
                  <a:pt x="19" y="21"/>
                  <a:pt x="0" y="17"/>
                  <a:pt x="42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69" name="Freeform 73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8122085" y="3617444"/>
            <a:ext cx="52754" cy="55563"/>
          </a:xfrm>
          <a:custGeom>
            <a:avLst/>
            <a:gdLst>
              <a:gd name="T0" fmla="*/ 17 w 38"/>
              <a:gd name="T1" fmla="*/ 0 h 31"/>
              <a:gd name="T2" fmla="*/ 21 w 38"/>
              <a:gd name="T3" fmla="*/ 31 h 31"/>
              <a:gd name="T4" fmla="*/ 35 w 38"/>
              <a:gd name="T5" fmla="*/ 18 h 31"/>
              <a:gd name="T6" fmla="*/ 17 w 38"/>
              <a:gd name="T7" fmla="*/ 0 h 31"/>
              <a:gd name="T8" fmla="*/ 0 60000 65536"/>
              <a:gd name="T9" fmla="*/ 0 60000 65536"/>
              <a:gd name="T10" fmla="*/ 0 60000 65536"/>
              <a:gd name="T11" fmla="*/ 0 60000 65536"/>
              <a:gd name="T12" fmla="*/ 0 w 38"/>
              <a:gd name="T13" fmla="*/ 0 h 31"/>
              <a:gd name="T14" fmla="*/ 38 w 38"/>
              <a:gd name="T15" fmla="*/ 31 h 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8" h="31">
                <a:moveTo>
                  <a:pt x="17" y="0"/>
                </a:moveTo>
                <a:cubicBezTo>
                  <a:pt x="11" y="17"/>
                  <a:pt x="0" y="25"/>
                  <a:pt x="21" y="31"/>
                </a:cubicBezTo>
                <a:cubicBezTo>
                  <a:pt x="26" y="27"/>
                  <a:pt x="33" y="24"/>
                  <a:pt x="35" y="18"/>
                </a:cubicBezTo>
                <a:cubicBezTo>
                  <a:pt x="38" y="10"/>
                  <a:pt x="17" y="0"/>
                  <a:pt x="17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70" name="Freeform 74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8536789" y="3673004"/>
            <a:ext cx="36634" cy="61912"/>
          </a:xfrm>
          <a:custGeom>
            <a:avLst/>
            <a:gdLst>
              <a:gd name="T0" fmla="*/ 6 w 26"/>
              <a:gd name="T1" fmla="*/ 0 h 36"/>
              <a:gd name="T2" fmla="*/ 20 w 26"/>
              <a:gd name="T3" fmla="*/ 36 h 36"/>
              <a:gd name="T4" fmla="*/ 6 w 26"/>
              <a:gd name="T5" fmla="*/ 0 h 36"/>
              <a:gd name="T6" fmla="*/ 0 60000 65536"/>
              <a:gd name="T7" fmla="*/ 0 60000 65536"/>
              <a:gd name="T8" fmla="*/ 0 60000 65536"/>
              <a:gd name="T9" fmla="*/ 0 w 26"/>
              <a:gd name="T10" fmla="*/ 0 h 36"/>
              <a:gd name="T11" fmla="*/ 26 w 26"/>
              <a:gd name="T12" fmla="*/ 36 h 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6" h="36">
                <a:moveTo>
                  <a:pt x="6" y="0"/>
                </a:moveTo>
                <a:cubicBezTo>
                  <a:pt x="0" y="20"/>
                  <a:pt x="2" y="25"/>
                  <a:pt x="20" y="36"/>
                </a:cubicBezTo>
                <a:cubicBezTo>
                  <a:pt x="26" y="17"/>
                  <a:pt x="15" y="16"/>
                  <a:pt x="6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71" name="Freeform 75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8636437" y="3828583"/>
            <a:ext cx="41031" cy="53975"/>
          </a:xfrm>
          <a:custGeom>
            <a:avLst/>
            <a:gdLst>
              <a:gd name="T0" fmla="*/ 12 w 30"/>
              <a:gd name="T1" fmla="*/ 0 h 31"/>
              <a:gd name="T2" fmla="*/ 21 w 30"/>
              <a:gd name="T3" fmla="*/ 31 h 31"/>
              <a:gd name="T4" fmla="*/ 12 w 30"/>
              <a:gd name="T5" fmla="*/ 0 h 31"/>
              <a:gd name="T6" fmla="*/ 0 60000 65536"/>
              <a:gd name="T7" fmla="*/ 0 60000 65536"/>
              <a:gd name="T8" fmla="*/ 0 60000 65536"/>
              <a:gd name="T9" fmla="*/ 0 w 30"/>
              <a:gd name="T10" fmla="*/ 0 h 31"/>
              <a:gd name="T11" fmla="*/ 30 w 30"/>
              <a:gd name="T12" fmla="*/ 31 h 3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0" h="31">
                <a:moveTo>
                  <a:pt x="12" y="0"/>
                </a:moveTo>
                <a:cubicBezTo>
                  <a:pt x="1" y="17"/>
                  <a:pt x="0" y="25"/>
                  <a:pt x="21" y="31"/>
                </a:cubicBezTo>
                <a:cubicBezTo>
                  <a:pt x="30" y="3"/>
                  <a:pt x="12" y="24"/>
                  <a:pt x="12" y="0"/>
                </a:cubicBezTo>
                <a:close/>
              </a:path>
            </a:pathLst>
          </a:custGeom>
          <a:solidFill>
            <a:srgbClr val="7030A0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72" name="Freeform 76"/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8573424" y="3696820"/>
            <a:ext cx="38100" cy="68263"/>
          </a:xfrm>
          <a:custGeom>
            <a:avLst/>
            <a:gdLst>
              <a:gd name="T0" fmla="*/ 20 w 27"/>
              <a:gd name="T1" fmla="*/ 0 h 39"/>
              <a:gd name="T2" fmla="*/ 7 w 27"/>
              <a:gd name="T3" fmla="*/ 13 h 39"/>
              <a:gd name="T4" fmla="*/ 25 w 27"/>
              <a:gd name="T5" fmla="*/ 22 h 39"/>
              <a:gd name="T6" fmla="*/ 20 w 27"/>
              <a:gd name="T7" fmla="*/ 0 h 39"/>
              <a:gd name="T8" fmla="*/ 0 60000 65536"/>
              <a:gd name="T9" fmla="*/ 0 60000 65536"/>
              <a:gd name="T10" fmla="*/ 0 60000 65536"/>
              <a:gd name="T11" fmla="*/ 0 60000 65536"/>
              <a:gd name="T12" fmla="*/ 0 w 27"/>
              <a:gd name="T13" fmla="*/ 0 h 39"/>
              <a:gd name="T14" fmla="*/ 27 w 27"/>
              <a:gd name="T15" fmla="*/ 39 h 3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" h="39">
                <a:moveTo>
                  <a:pt x="20" y="0"/>
                </a:moveTo>
                <a:cubicBezTo>
                  <a:pt x="16" y="4"/>
                  <a:pt x="9" y="7"/>
                  <a:pt x="7" y="13"/>
                </a:cubicBezTo>
                <a:cubicBezTo>
                  <a:pt x="0" y="39"/>
                  <a:pt x="22" y="33"/>
                  <a:pt x="25" y="22"/>
                </a:cubicBezTo>
                <a:cubicBezTo>
                  <a:pt x="27" y="15"/>
                  <a:pt x="22" y="7"/>
                  <a:pt x="20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73" name="Freeform 77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8591010" y="3782541"/>
            <a:ext cx="64477" cy="39688"/>
          </a:xfrm>
          <a:custGeom>
            <a:avLst/>
            <a:gdLst>
              <a:gd name="T0" fmla="*/ 31 w 44"/>
              <a:gd name="T1" fmla="*/ 0 h 22"/>
              <a:gd name="T2" fmla="*/ 26 w 44"/>
              <a:gd name="T3" fmla="*/ 22 h 22"/>
              <a:gd name="T4" fmla="*/ 31 w 44"/>
              <a:gd name="T5" fmla="*/ 0 h 22"/>
              <a:gd name="T6" fmla="*/ 0 60000 65536"/>
              <a:gd name="T7" fmla="*/ 0 60000 65536"/>
              <a:gd name="T8" fmla="*/ 0 60000 65536"/>
              <a:gd name="T9" fmla="*/ 0 w 44"/>
              <a:gd name="T10" fmla="*/ 0 h 22"/>
              <a:gd name="T11" fmla="*/ 44 w 44"/>
              <a:gd name="T12" fmla="*/ 22 h 2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4" h="22">
                <a:moveTo>
                  <a:pt x="31" y="0"/>
                </a:moveTo>
                <a:cubicBezTo>
                  <a:pt x="13" y="5"/>
                  <a:pt x="0" y="12"/>
                  <a:pt x="26" y="22"/>
                </a:cubicBezTo>
                <a:cubicBezTo>
                  <a:pt x="43" y="16"/>
                  <a:pt x="44" y="13"/>
                  <a:pt x="31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74" name="Freeform 78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4316481" y="2280766"/>
            <a:ext cx="1018442" cy="1250950"/>
          </a:xfrm>
          <a:custGeom>
            <a:avLst/>
            <a:gdLst>
              <a:gd name="T0" fmla="*/ 86 w 721"/>
              <a:gd name="T1" fmla="*/ 4 h 713"/>
              <a:gd name="T2" fmla="*/ 54 w 721"/>
              <a:gd name="T3" fmla="*/ 52 h 713"/>
              <a:gd name="T4" fmla="*/ 26 w 721"/>
              <a:gd name="T5" fmla="*/ 96 h 713"/>
              <a:gd name="T6" fmla="*/ 62 w 721"/>
              <a:gd name="T7" fmla="*/ 244 h 713"/>
              <a:gd name="T8" fmla="*/ 54 w 721"/>
              <a:gd name="T9" fmla="*/ 292 h 713"/>
              <a:gd name="T10" fmla="*/ 70 w 721"/>
              <a:gd name="T11" fmla="*/ 348 h 713"/>
              <a:gd name="T12" fmla="*/ 78 w 721"/>
              <a:gd name="T13" fmla="*/ 384 h 713"/>
              <a:gd name="T14" fmla="*/ 102 w 721"/>
              <a:gd name="T15" fmla="*/ 392 h 713"/>
              <a:gd name="T16" fmla="*/ 78 w 721"/>
              <a:gd name="T17" fmla="*/ 424 h 713"/>
              <a:gd name="T18" fmla="*/ 138 w 721"/>
              <a:gd name="T19" fmla="*/ 448 h 713"/>
              <a:gd name="T20" fmla="*/ 162 w 721"/>
              <a:gd name="T21" fmla="*/ 500 h 713"/>
              <a:gd name="T22" fmla="*/ 198 w 721"/>
              <a:gd name="T23" fmla="*/ 652 h 713"/>
              <a:gd name="T24" fmla="*/ 238 w 721"/>
              <a:gd name="T25" fmla="*/ 704 h 713"/>
              <a:gd name="T26" fmla="*/ 262 w 721"/>
              <a:gd name="T27" fmla="*/ 692 h 713"/>
              <a:gd name="T28" fmla="*/ 294 w 721"/>
              <a:gd name="T29" fmla="*/ 584 h 713"/>
              <a:gd name="T30" fmla="*/ 314 w 721"/>
              <a:gd name="T31" fmla="*/ 468 h 713"/>
              <a:gd name="T32" fmla="*/ 362 w 721"/>
              <a:gd name="T33" fmla="*/ 436 h 713"/>
              <a:gd name="T34" fmla="*/ 386 w 721"/>
              <a:gd name="T35" fmla="*/ 420 h 713"/>
              <a:gd name="T36" fmla="*/ 418 w 721"/>
              <a:gd name="T37" fmla="*/ 380 h 713"/>
              <a:gd name="T38" fmla="*/ 474 w 721"/>
              <a:gd name="T39" fmla="*/ 380 h 713"/>
              <a:gd name="T40" fmla="*/ 522 w 721"/>
              <a:gd name="T41" fmla="*/ 348 h 713"/>
              <a:gd name="T42" fmla="*/ 570 w 721"/>
              <a:gd name="T43" fmla="*/ 340 h 713"/>
              <a:gd name="T44" fmla="*/ 606 w 721"/>
              <a:gd name="T45" fmla="*/ 252 h 713"/>
              <a:gd name="T46" fmla="*/ 646 w 721"/>
              <a:gd name="T47" fmla="*/ 236 h 713"/>
              <a:gd name="T48" fmla="*/ 670 w 721"/>
              <a:gd name="T49" fmla="*/ 228 h 713"/>
              <a:gd name="T50" fmla="*/ 674 w 721"/>
              <a:gd name="T51" fmla="*/ 172 h 713"/>
              <a:gd name="T52" fmla="*/ 706 w 721"/>
              <a:gd name="T53" fmla="*/ 120 h 713"/>
              <a:gd name="T54" fmla="*/ 658 w 721"/>
              <a:gd name="T55" fmla="*/ 76 h 713"/>
              <a:gd name="T56" fmla="*/ 530 w 721"/>
              <a:gd name="T57" fmla="*/ 68 h 713"/>
              <a:gd name="T58" fmla="*/ 466 w 721"/>
              <a:gd name="T59" fmla="*/ 96 h 713"/>
              <a:gd name="T60" fmla="*/ 390 w 721"/>
              <a:gd name="T61" fmla="*/ 128 h 713"/>
              <a:gd name="T62" fmla="*/ 226 w 721"/>
              <a:gd name="T63" fmla="*/ 132 h 713"/>
              <a:gd name="T64" fmla="*/ 198 w 721"/>
              <a:gd name="T65" fmla="*/ 104 h 713"/>
              <a:gd name="T66" fmla="*/ 166 w 721"/>
              <a:gd name="T67" fmla="*/ 68 h 713"/>
              <a:gd name="T68" fmla="*/ 122 w 721"/>
              <a:gd name="T69" fmla="*/ 52 h 713"/>
              <a:gd name="T70" fmla="*/ 98 w 721"/>
              <a:gd name="T71" fmla="*/ 16 h 713"/>
              <a:gd name="T72" fmla="*/ 86 w 721"/>
              <a:gd name="T73" fmla="*/ 4 h 713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721"/>
              <a:gd name="T112" fmla="*/ 0 h 713"/>
              <a:gd name="T113" fmla="*/ 721 w 721"/>
              <a:gd name="T114" fmla="*/ 713 h 713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721" h="713">
                <a:moveTo>
                  <a:pt x="86" y="4"/>
                </a:moveTo>
                <a:cubicBezTo>
                  <a:pt x="61" y="21"/>
                  <a:pt x="81" y="43"/>
                  <a:pt x="54" y="52"/>
                </a:cubicBezTo>
                <a:cubicBezTo>
                  <a:pt x="48" y="70"/>
                  <a:pt x="33" y="76"/>
                  <a:pt x="26" y="96"/>
                </a:cubicBezTo>
                <a:cubicBezTo>
                  <a:pt x="28" y="158"/>
                  <a:pt x="0" y="223"/>
                  <a:pt x="62" y="244"/>
                </a:cubicBezTo>
                <a:cubicBezTo>
                  <a:pt x="67" y="264"/>
                  <a:pt x="79" y="284"/>
                  <a:pt x="54" y="292"/>
                </a:cubicBezTo>
                <a:cubicBezTo>
                  <a:pt x="45" y="319"/>
                  <a:pt x="31" y="340"/>
                  <a:pt x="70" y="348"/>
                </a:cubicBezTo>
                <a:cubicBezTo>
                  <a:pt x="74" y="360"/>
                  <a:pt x="70" y="375"/>
                  <a:pt x="78" y="384"/>
                </a:cubicBezTo>
                <a:cubicBezTo>
                  <a:pt x="84" y="390"/>
                  <a:pt x="102" y="392"/>
                  <a:pt x="102" y="392"/>
                </a:cubicBezTo>
                <a:cubicBezTo>
                  <a:pt x="119" y="418"/>
                  <a:pt x="105" y="420"/>
                  <a:pt x="78" y="424"/>
                </a:cubicBezTo>
                <a:cubicBezTo>
                  <a:pt x="85" y="471"/>
                  <a:pt x="96" y="458"/>
                  <a:pt x="138" y="448"/>
                </a:cubicBezTo>
                <a:cubicBezTo>
                  <a:pt x="165" y="455"/>
                  <a:pt x="160" y="470"/>
                  <a:pt x="162" y="500"/>
                </a:cubicBezTo>
                <a:cubicBezTo>
                  <a:pt x="166" y="548"/>
                  <a:pt x="170" y="609"/>
                  <a:pt x="198" y="652"/>
                </a:cubicBezTo>
                <a:cubicBezTo>
                  <a:pt x="206" y="703"/>
                  <a:pt x="195" y="713"/>
                  <a:pt x="238" y="704"/>
                </a:cubicBezTo>
                <a:cubicBezTo>
                  <a:pt x="245" y="699"/>
                  <a:pt x="255" y="698"/>
                  <a:pt x="262" y="692"/>
                </a:cubicBezTo>
                <a:cubicBezTo>
                  <a:pt x="280" y="678"/>
                  <a:pt x="291" y="607"/>
                  <a:pt x="294" y="584"/>
                </a:cubicBezTo>
                <a:cubicBezTo>
                  <a:pt x="292" y="549"/>
                  <a:pt x="270" y="477"/>
                  <a:pt x="314" y="468"/>
                </a:cubicBezTo>
                <a:cubicBezTo>
                  <a:pt x="331" y="457"/>
                  <a:pt x="346" y="449"/>
                  <a:pt x="362" y="436"/>
                </a:cubicBezTo>
                <a:cubicBezTo>
                  <a:pt x="370" y="430"/>
                  <a:pt x="386" y="420"/>
                  <a:pt x="386" y="420"/>
                </a:cubicBezTo>
                <a:cubicBezTo>
                  <a:pt x="397" y="403"/>
                  <a:pt x="398" y="387"/>
                  <a:pt x="418" y="380"/>
                </a:cubicBezTo>
                <a:cubicBezTo>
                  <a:pt x="441" y="383"/>
                  <a:pt x="452" y="387"/>
                  <a:pt x="474" y="380"/>
                </a:cubicBezTo>
                <a:cubicBezTo>
                  <a:pt x="492" y="374"/>
                  <a:pt x="503" y="354"/>
                  <a:pt x="522" y="348"/>
                </a:cubicBezTo>
                <a:cubicBezTo>
                  <a:pt x="538" y="343"/>
                  <a:pt x="554" y="343"/>
                  <a:pt x="570" y="340"/>
                </a:cubicBezTo>
                <a:cubicBezTo>
                  <a:pt x="586" y="316"/>
                  <a:pt x="590" y="265"/>
                  <a:pt x="606" y="252"/>
                </a:cubicBezTo>
                <a:cubicBezTo>
                  <a:pt x="616" y="244"/>
                  <a:pt x="634" y="239"/>
                  <a:pt x="646" y="236"/>
                </a:cubicBezTo>
                <a:cubicBezTo>
                  <a:pt x="654" y="234"/>
                  <a:pt x="670" y="228"/>
                  <a:pt x="670" y="228"/>
                </a:cubicBezTo>
                <a:cubicBezTo>
                  <a:pt x="686" y="205"/>
                  <a:pt x="682" y="203"/>
                  <a:pt x="674" y="172"/>
                </a:cubicBezTo>
                <a:cubicBezTo>
                  <a:pt x="679" y="146"/>
                  <a:pt x="683" y="135"/>
                  <a:pt x="706" y="120"/>
                </a:cubicBezTo>
                <a:cubicBezTo>
                  <a:pt x="721" y="75"/>
                  <a:pt x="700" y="73"/>
                  <a:pt x="658" y="76"/>
                </a:cubicBezTo>
                <a:cubicBezTo>
                  <a:pt x="614" y="72"/>
                  <a:pt x="573" y="73"/>
                  <a:pt x="530" y="68"/>
                </a:cubicBezTo>
                <a:cubicBezTo>
                  <a:pt x="503" y="72"/>
                  <a:pt x="490" y="87"/>
                  <a:pt x="466" y="96"/>
                </a:cubicBezTo>
                <a:cubicBezTo>
                  <a:pt x="440" y="106"/>
                  <a:pt x="413" y="112"/>
                  <a:pt x="390" y="128"/>
                </a:cubicBezTo>
                <a:cubicBezTo>
                  <a:pt x="335" y="124"/>
                  <a:pt x="281" y="123"/>
                  <a:pt x="226" y="132"/>
                </a:cubicBezTo>
                <a:cubicBezTo>
                  <a:pt x="201" y="126"/>
                  <a:pt x="211" y="121"/>
                  <a:pt x="198" y="104"/>
                </a:cubicBezTo>
                <a:cubicBezTo>
                  <a:pt x="188" y="91"/>
                  <a:pt x="177" y="79"/>
                  <a:pt x="166" y="68"/>
                </a:cubicBezTo>
                <a:cubicBezTo>
                  <a:pt x="155" y="57"/>
                  <a:pt x="122" y="52"/>
                  <a:pt x="122" y="52"/>
                </a:cubicBezTo>
                <a:cubicBezTo>
                  <a:pt x="108" y="38"/>
                  <a:pt x="107" y="28"/>
                  <a:pt x="98" y="16"/>
                </a:cubicBezTo>
                <a:cubicBezTo>
                  <a:pt x="85" y="0"/>
                  <a:pt x="86" y="15"/>
                  <a:pt x="86" y="4"/>
                </a:cubicBezTo>
                <a:close/>
              </a:path>
            </a:pathLst>
          </a:custGeom>
          <a:solidFill>
            <a:srgbClr val="95B3D7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75" name="Freeform 79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5356905" y="3041179"/>
            <a:ext cx="420565" cy="696912"/>
          </a:xfrm>
          <a:custGeom>
            <a:avLst/>
            <a:gdLst>
              <a:gd name="T0" fmla="*/ 296 w 297"/>
              <a:gd name="T1" fmla="*/ 179 h 397"/>
              <a:gd name="T2" fmla="*/ 292 w 297"/>
              <a:gd name="T3" fmla="*/ 255 h 397"/>
              <a:gd name="T4" fmla="*/ 228 w 297"/>
              <a:gd name="T5" fmla="*/ 319 h 397"/>
              <a:gd name="T6" fmla="*/ 152 w 297"/>
              <a:gd name="T7" fmla="*/ 347 h 397"/>
              <a:gd name="T8" fmla="*/ 128 w 297"/>
              <a:gd name="T9" fmla="*/ 375 h 397"/>
              <a:gd name="T10" fmla="*/ 92 w 297"/>
              <a:gd name="T11" fmla="*/ 395 h 397"/>
              <a:gd name="T12" fmla="*/ 28 w 297"/>
              <a:gd name="T13" fmla="*/ 375 h 397"/>
              <a:gd name="T14" fmla="*/ 16 w 297"/>
              <a:gd name="T15" fmla="*/ 319 h 397"/>
              <a:gd name="T16" fmla="*/ 0 w 297"/>
              <a:gd name="T17" fmla="*/ 295 h 397"/>
              <a:gd name="T18" fmla="*/ 52 w 297"/>
              <a:gd name="T19" fmla="*/ 163 h 397"/>
              <a:gd name="T20" fmla="*/ 72 w 297"/>
              <a:gd name="T21" fmla="*/ 143 h 397"/>
              <a:gd name="T22" fmla="*/ 92 w 297"/>
              <a:gd name="T23" fmla="*/ 111 h 397"/>
              <a:gd name="T24" fmla="*/ 124 w 297"/>
              <a:gd name="T25" fmla="*/ 79 h 397"/>
              <a:gd name="T26" fmla="*/ 152 w 297"/>
              <a:gd name="T27" fmla="*/ 47 h 397"/>
              <a:gd name="T28" fmla="*/ 172 w 297"/>
              <a:gd name="T29" fmla="*/ 67 h 397"/>
              <a:gd name="T30" fmla="*/ 176 w 297"/>
              <a:gd name="T31" fmla="*/ 79 h 397"/>
              <a:gd name="T32" fmla="*/ 212 w 297"/>
              <a:gd name="T33" fmla="*/ 95 h 397"/>
              <a:gd name="T34" fmla="*/ 264 w 297"/>
              <a:gd name="T35" fmla="*/ 143 h 397"/>
              <a:gd name="T36" fmla="*/ 296 w 297"/>
              <a:gd name="T37" fmla="*/ 179 h 397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297"/>
              <a:gd name="T58" fmla="*/ 0 h 397"/>
              <a:gd name="T59" fmla="*/ 297 w 297"/>
              <a:gd name="T60" fmla="*/ 397 h 397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297" h="397">
                <a:moveTo>
                  <a:pt x="296" y="179"/>
                </a:moveTo>
                <a:cubicBezTo>
                  <a:pt x="295" y="204"/>
                  <a:pt x="297" y="230"/>
                  <a:pt x="292" y="255"/>
                </a:cubicBezTo>
                <a:cubicBezTo>
                  <a:pt x="286" y="283"/>
                  <a:pt x="248" y="306"/>
                  <a:pt x="228" y="319"/>
                </a:cubicBezTo>
                <a:cubicBezTo>
                  <a:pt x="218" y="349"/>
                  <a:pt x="179" y="344"/>
                  <a:pt x="152" y="347"/>
                </a:cubicBezTo>
                <a:cubicBezTo>
                  <a:pt x="132" y="354"/>
                  <a:pt x="142" y="362"/>
                  <a:pt x="128" y="375"/>
                </a:cubicBezTo>
                <a:cubicBezTo>
                  <a:pt x="111" y="390"/>
                  <a:pt x="108" y="390"/>
                  <a:pt x="92" y="395"/>
                </a:cubicBezTo>
                <a:cubicBezTo>
                  <a:pt x="65" y="392"/>
                  <a:pt x="43" y="397"/>
                  <a:pt x="28" y="375"/>
                </a:cubicBezTo>
                <a:cubicBezTo>
                  <a:pt x="23" y="356"/>
                  <a:pt x="27" y="335"/>
                  <a:pt x="16" y="319"/>
                </a:cubicBezTo>
                <a:cubicBezTo>
                  <a:pt x="11" y="311"/>
                  <a:pt x="0" y="295"/>
                  <a:pt x="0" y="295"/>
                </a:cubicBezTo>
                <a:cubicBezTo>
                  <a:pt x="5" y="254"/>
                  <a:pt x="11" y="183"/>
                  <a:pt x="52" y="163"/>
                </a:cubicBezTo>
                <a:cubicBezTo>
                  <a:pt x="57" y="155"/>
                  <a:pt x="67" y="151"/>
                  <a:pt x="72" y="143"/>
                </a:cubicBezTo>
                <a:cubicBezTo>
                  <a:pt x="96" y="105"/>
                  <a:pt x="65" y="129"/>
                  <a:pt x="92" y="111"/>
                </a:cubicBezTo>
                <a:cubicBezTo>
                  <a:pt x="101" y="97"/>
                  <a:pt x="112" y="91"/>
                  <a:pt x="124" y="79"/>
                </a:cubicBezTo>
                <a:cubicBezTo>
                  <a:pt x="129" y="63"/>
                  <a:pt x="138" y="56"/>
                  <a:pt x="152" y="47"/>
                </a:cubicBezTo>
                <a:cubicBezTo>
                  <a:pt x="168" y="0"/>
                  <a:pt x="160" y="31"/>
                  <a:pt x="172" y="67"/>
                </a:cubicBezTo>
                <a:cubicBezTo>
                  <a:pt x="173" y="71"/>
                  <a:pt x="173" y="76"/>
                  <a:pt x="176" y="79"/>
                </a:cubicBezTo>
                <a:cubicBezTo>
                  <a:pt x="182" y="85"/>
                  <a:pt x="203" y="92"/>
                  <a:pt x="212" y="95"/>
                </a:cubicBezTo>
                <a:cubicBezTo>
                  <a:pt x="221" y="123"/>
                  <a:pt x="241" y="128"/>
                  <a:pt x="264" y="143"/>
                </a:cubicBezTo>
                <a:cubicBezTo>
                  <a:pt x="272" y="155"/>
                  <a:pt x="279" y="179"/>
                  <a:pt x="296" y="179"/>
                </a:cubicBezTo>
                <a:close/>
              </a:path>
            </a:pathLst>
          </a:custGeom>
          <a:solidFill>
            <a:srgbClr val="FFCD0F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76" name="Freeform 80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5241141" y="1796583"/>
            <a:ext cx="1012581" cy="1576387"/>
          </a:xfrm>
          <a:custGeom>
            <a:avLst/>
            <a:gdLst>
              <a:gd name="T0" fmla="*/ 515 w 717"/>
              <a:gd name="T1" fmla="*/ 4 h 898"/>
              <a:gd name="T2" fmla="*/ 527 w 717"/>
              <a:gd name="T3" fmla="*/ 44 h 898"/>
              <a:gd name="T4" fmla="*/ 531 w 717"/>
              <a:gd name="T5" fmla="*/ 56 h 898"/>
              <a:gd name="T6" fmla="*/ 539 w 717"/>
              <a:gd name="T7" fmla="*/ 128 h 898"/>
              <a:gd name="T8" fmla="*/ 495 w 717"/>
              <a:gd name="T9" fmla="*/ 144 h 898"/>
              <a:gd name="T10" fmla="*/ 499 w 717"/>
              <a:gd name="T11" fmla="*/ 160 h 898"/>
              <a:gd name="T12" fmla="*/ 535 w 717"/>
              <a:gd name="T13" fmla="*/ 168 h 898"/>
              <a:gd name="T14" fmla="*/ 567 w 717"/>
              <a:gd name="T15" fmla="*/ 224 h 898"/>
              <a:gd name="T16" fmla="*/ 551 w 717"/>
              <a:gd name="T17" fmla="*/ 292 h 898"/>
              <a:gd name="T18" fmla="*/ 607 w 717"/>
              <a:gd name="T19" fmla="*/ 356 h 898"/>
              <a:gd name="T20" fmla="*/ 671 w 717"/>
              <a:gd name="T21" fmla="*/ 388 h 898"/>
              <a:gd name="T22" fmla="*/ 695 w 717"/>
              <a:gd name="T23" fmla="*/ 416 h 898"/>
              <a:gd name="T24" fmla="*/ 679 w 717"/>
              <a:gd name="T25" fmla="*/ 464 h 898"/>
              <a:gd name="T26" fmla="*/ 583 w 717"/>
              <a:gd name="T27" fmla="*/ 452 h 898"/>
              <a:gd name="T28" fmla="*/ 535 w 717"/>
              <a:gd name="T29" fmla="*/ 460 h 898"/>
              <a:gd name="T30" fmla="*/ 507 w 717"/>
              <a:gd name="T31" fmla="*/ 536 h 898"/>
              <a:gd name="T32" fmla="*/ 499 w 717"/>
              <a:gd name="T33" fmla="*/ 652 h 898"/>
              <a:gd name="T34" fmla="*/ 483 w 717"/>
              <a:gd name="T35" fmla="*/ 676 h 898"/>
              <a:gd name="T36" fmla="*/ 467 w 717"/>
              <a:gd name="T37" fmla="*/ 712 h 898"/>
              <a:gd name="T38" fmla="*/ 415 w 717"/>
              <a:gd name="T39" fmla="*/ 740 h 898"/>
              <a:gd name="T40" fmla="*/ 391 w 717"/>
              <a:gd name="T41" fmla="*/ 756 h 898"/>
              <a:gd name="T42" fmla="*/ 371 w 717"/>
              <a:gd name="T43" fmla="*/ 792 h 898"/>
              <a:gd name="T44" fmla="*/ 383 w 717"/>
              <a:gd name="T45" fmla="*/ 880 h 898"/>
              <a:gd name="T46" fmla="*/ 379 w 717"/>
              <a:gd name="T47" fmla="*/ 896 h 898"/>
              <a:gd name="T48" fmla="*/ 371 w 717"/>
              <a:gd name="T49" fmla="*/ 884 h 898"/>
              <a:gd name="T50" fmla="*/ 331 w 717"/>
              <a:gd name="T51" fmla="*/ 864 h 898"/>
              <a:gd name="T52" fmla="*/ 283 w 717"/>
              <a:gd name="T53" fmla="*/ 816 h 898"/>
              <a:gd name="T54" fmla="*/ 247 w 717"/>
              <a:gd name="T55" fmla="*/ 776 h 898"/>
              <a:gd name="T56" fmla="*/ 255 w 717"/>
              <a:gd name="T57" fmla="*/ 696 h 898"/>
              <a:gd name="T58" fmla="*/ 219 w 717"/>
              <a:gd name="T59" fmla="*/ 636 h 898"/>
              <a:gd name="T60" fmla="*/ 183 w 717"/>
              <a:gd name="T61" fmla="*/ 524 h 898"/>
              <a:gd name="T62" fmla="*/ 171 w 717"/>
              <a:gd name="T63" fmla="*/ 484 h 898"/>
              <a:gd name="T64" fmla="*/ 135 w 717"/>
              <a:gd name="T65" fmla="*/ 452 h 898"/>
              <a:gd name="T66" fmla="*/ 55 w 717"/>
              <a:gd name="T67" fmla="*/ 480 h 898"/>
              <a:gd name="T68" fmla="*/ 15 w 717"/>
              <a:gd name="T69" fmla="*/ 476 h 898"/>
              <a:gd name="T70" fmla="*/ 39 w 717"/>
              <a:gd name="T71" fmla="*/ 380 h 898"/>
              <a:gd name="T72" fmla="*/ 43 w 717"/>
              <a:gd name="T73" fmla="*/ 364 h 898"/>
              <a:gd name="T74" fmla="*/ 67 w 717"/>
              <a:gd name="T75" fmla="*/ 356 h 898"/>
              <a:gd name="T76" fmla="*/ 111 w 717"/>
              <a:gd name="T77" fmla="*/ 300 h 898"/>
              <a:gd name="T78" fmla="*/ 143 w 717"/>
              <a:gd name="T79" fmla="*/ 256 h 898"/>
              <a:gd name="T80" fmla="*/ 179 w 717"/>
              <a:gd name="T81" fmla="*/ 196 h 898"/>
              <a:gd name="T82" fmla="*/ 203 w 717"/>
              <a:gd name="T83" fmla="*/ 164 h 898"/>
              <a:gd name="T84" fmla="*/ 223 w 717"/>
              <a:gd name="T85" fmla="*/ 80 h 898"/>
              <a:gd name="T86" fmla="*/ 255 w 717"/>
              <a:gd name="T87" fmla="*/ 0 h 898"/>
              <a:gd name="T88" fmla="*/ 515 w 717"/>
              <a:gd name="T89" fmla="*/ 4 h 89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717"/>
              <a:gd name="T136" fmla="*/ 0 h 898"/>
              <a:gd name="T137" fmla="*/ 717 w 717"/>
              <a:gd name="T138" fmla="*/ 898 h 89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717" h="898">
                <a:moveTo>
                  <a:pt x="515" y="4"/>
                </a:moveTo>
                <a:cubicBezTo>
                  <a:pt x="521" y="28"/>
                  <a:pt x="517" y="15"/>
                  <a:pt x="527" y="44"/>
                </a:cubicBezTo>
                <a:cubicBezTo>
                  <a:pt x="528" y="48"/>
                  <a:pt x="531" y="56"/>
                  <a:pt x="531" y="56"/>
                </a:cubicBezTo>
                <a:cubicBezTo>
                  <a:pt x="528" y="83"/>
                  <a:pt x="514" y="111"/>
                  <a:pt x="539" y="128"/>
                </a:cubicBezTo>
                <a:cubicBezTo>
                  <a:pt x="528" y="160"/>
                  <a:pt x="547" y="115"/>
                  <a:pt x="495" y="144"/>
                </a:cubicBezTo>
                <a:cubicBezTo>
                  <a:pt x="490" y="147"/>
                  <a:pt x="495" y="156"/>
                  <a:pt x="499" y="160"/>
                </a:cubicBezTo>
                <a:cubicBezTo>
                  <a:pt x="508" y="169"/>
                  <a:pt x="523" y="166"/>
                  <a:pt x="535" y="168"/>
                </a:cubicBezTo>
                <a:cubicBezTo>
                  <a:pt x="540" y="220"/>
                  <a:pt x="535" y="200"/>
                  <a:pt x="567" y="224"/>
                </a:cubicBezTo>
                <a:cubicBezTo>
                  <a:pt x="576" y="250"/>
                  <a:pt x="569" y="274"/>
                  <a:pt x="551" y="292"/>
                </a:cubicBezTo>
                <a:cubicBezTo>
                  <a:pt x="540" y="325"/>
                  <a:pt x="579" y="349"/>
                  <a:pt x="607" y="356"/>
                </a:cubicBezTo>
                <a:cubicBezTo>
                  <a:pt x="628" y="372"/>
                  <a:pt x="645" y="382"/>
                  <a:pt x="671" y="388"/>
                </a:cubicBezTo>
                <a:cubicBezTo>
                  <a:pt x="676" y="404"/>
                  <a:pt x="679" y="411"/>
                  <a:pt x="695" y="416"/>
                </a:cubicBezTo>
                <a:cubicBezTo>
                  <a:pt x="717" y="438"/>
                  <a:pt x="705" y="455"/>
                  <a:pt x="679" y="464"/>
                </a:cubicBezTo>
                <a:cubicBezTo>
                  <a:pt x="646" y="461"/>
                  <a:pt x="615" y="460"/>
                  <a:pt x="583" y="452"/>
                </a:cubicBezTo>
                <a:cubicBezTo>
                  <a:pt x="567" y="455"/>
                  <a:pt x="550" y="455"/>
                  <a:pt x="535" y="460"/>
                </a:cubicBezTo>
                <a:cubicBezTo>
                  <a:pt x="528" y="462"/>
                  <a:pt x="518" y="519"/>
                  <a:pt x="507" y="536"/>
                </a:cubicBezTo>
                <a:cubicBezTo>
                  <a:pt x="506" y="575"/>
                  <a:pt x="518" y="618"/>
                  <a:pt x="499" y="652"/>
                </a:cubicBezTo>
                <a:cubicBezTo>
                  <a:pt x="494" y="660"/>
                  <a:pt x="486" y="667"/>
                  <a:pt x="483" y="676"/>
                </a:cubicBezTo>
                <a:cubicBezTo>
                  <a:pt x="479" y="688"/>
                  <a:pt x="477" y="702"/>
                  <a:pt x="467" y="712"/>
                </a:cubicBezTo>
                <a:cubicBezTo>
                  <a:pt x="450" y="729"/>
                  <a:pt x="434" y="729"/>
                  <a:pt x="415" y="740"/>
                </a:cubicBezTo>
                <a:cubicBezTo>
                  <a:pt x="407" y="745"/>
                  <a:pt x="391" y="756"/>
                  <a:pt x="391" y="756"/>
                </a:cubicBezTo>
                <a:cubicBezTo>
                  <a:pt x="373" y="784"/>
                  <a:pt x="378" y="771"/>
                  <a:pt x="371" y="792"/>
                </a:cubicBezTo>
                <a:cubicBezTo>
                  <a:pt x="373" y="824"/>
                  <a:pt x="373" y="850"/>
                  <a:pt x="383" y="880"/>
                </a:cubicBezTo>
                <a:cubicBezTo>
                  <a:pt x="382" y="885"/>
                  <a:pt x="384" y="894"/>
                  <a:pt x="379" y="896"/>
                </a:cubicBezTo>
                <a:cubicBezTo>
                  <a:pt x="374" y="898"/>
                  <a:pt x="374" y="887"/>
                  <a:pt x="371" y="884"/>
                </a:cubicBezTo>
                <a:cubicBezTo>
                  <a:pt x="361" y="874"/>
                  <a:pt x="344" y="868"/>
                  <a:pt x="331" y="864"/>
                </a:cubicBezTo>
                <a:cubicBezTo>
                  <a:pt x="319" y="827"/>
                  <a:pt x="315" y="837"/>
                  <a:pt x="283" y="816"/>
                </a:cubicBezTo>
                <a:cubicBezTo>
                  <a:pt x="278" y="800"/>
                  <a:pt x="261" y="785"/>
                  <a:pt x="247" y="776"/>
                </a:cubicBezTo>
                <a:cubicBezTo>
                  <a:pt x="240" y="749"/>
                  <a:pt x="227" y="715"/>
                  <a:pt x="255" y="696"/>
                </a:cubicBezTo>
                <a:cubicBezTo>
                  <a:pt x="250" y="651"/>
                  <a:pt x="250" y="657"/>
                  <a:pt x="219" y="636"/>
                </a:cubicBezTo>
                <a:cubicBezTo>
                  <a:pt x="215" y="541"/>
                  <a:pt x="233" y="557"/>
                  <a:pt x="183" y="524"/>
                </a:cubicBezTo>
                <a:cubicBezTo>
                  <a:pt x="179" y="511"/>
                  <a:pt x="178" y="496"/>
                  <a:pt x="171" y="484"/>
                </a:cubicBezTo>
                <a:cubicBezTo>
                  <a:pt x="164" y="472"/>
                  <a:pt x="145" y="462"/>
                  <a:pt x="135" y="452"/>
                </a:cubicBezTo>
                <a:cubicBezTo>
                  <a:pt x="98" y="457"/>
                  <a:pt x="87" y="469"/>
                  <a:pt x="55" y="480"/>
                </a:cubicBezTo>
                <a:cubicBezTo>
                  <a:pt x="42" y="479"/>
                  <a:pt x="22" y="488"/>
                  <a:pt x="15" y="476"/>
                </a:cubicBezTo>
                <a:cubicBezTo>
                  <a:pt x="0" y="449"/>
                  <a:pt x="23" y="404"/>
                  <a:pt x="39" y="380"/>
                </a:cubicBezTo>
                <a:cubicBezTo>
                  <a:pt x="40" y="375"/>
                  <a:pt x="39" y="368"/>
                  <a:pt x="43" y="364"/>
                </a:cubicBezTo>
                <a:cubicBezTo>
                  <a:pt x="49" y="359"/>
                  <a:pt x="67" y="356"/>
                  <a:pt x="67" y="356"/>
                </a:cubicBezTo>
                <a:cubicBezTo>
                  <a:pt x="80" y="336"/>
                  <a:pt x="96" y="319"/>
                  <a:pt x="111" y="300"/>
                </a:cubicBezTo>
                <a:cubicBezTo>
                  <a:pt x="123" y="284"/>
                  <a:pt x="127" y="267"/>
                  <a:pt x="143" y="256"/>
                </a:cubicBezTo>
                <a:cubicBezTo>
                  <a:pt x="156" y="236"/>
                  <a:pt x="162" y="213"/>
                  <a:pt x="179" y="196"/>
                </a:cubicBezTo>
                <a:cubicBezTo>
                  <a:pt x="184" y="181"/>
                  <a:pt x="194" y="177"/>
                  <a:pt x="203" y="164"/>
                </a:cubicBezTo>
                <a:cubicBezTo>
                  <a:pt x="210" y="136"/>
                  <a:pt x="216" y="108"/>
                  <a:pt x="223" y="80"/>
                </a:cubicBezTo>
                <a:cubicBezTo>
                  <a:pt x="226" y="47"/>
                  <a:pt x="219" y="12"/>
                  <a:pt x="255" y="0"/>
                </a:cubicBezTo>
                <a:cubicBezTo>
                  <a:pt x="382" y="4"/>
                  <a:pt x="400" y="18"/>
                  <a:pt x="515" y="4"/>
                </a:cubicBezTo>
                <a:close/>
              </a:path>
            </a:pathLst>
          </a:custGeom>
          <a:solidFill>
            <a:srgbClr val="08205C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77" name="Freeform 81"/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4669639" y="2568108"/>
            <a:ext cx="948104" cy="1049337"/>
          </a:xfrm>
          <a:custGeom>
            <a:avLst/>
            <a:gdLst>
              <a:gd name="T0" fmla="*/ 428 w 672"/>
              <a:gd name="T1" fmla="*/ 36 h 598"/>
              <a:gd name="T2" fmla="*/ 496 w 672"/>
              <a:gd name="T3" fmla="*/ 24 h 598"/>
              <a:gd name="T4" fmla="*/ 564 w 672"/>
              <a:gd name="T5" fmla="*/ 12 h 598"/>
              <a:gd name="T6" fmla="*/ 592 w 672"/>
              <a:gd name="T7" fmla="*/ 68 h 598"/>
              <a:gd name="T8" fmla="*/ 632 w 672"/>
              <a:gd name="T9" fmla="*/ 116 h 598"/>
              <a:gd name="T10" fmla="*/ 652 w 672"/>
              <a:gd name="T11" fmla="*/ 216 h 598"/>
              <a:gd name="T12" fmla="*/ 640 w 672"/>
              <a:gd name="T13" fmla="*/ 296 h 598"/>
              <a:gd name="T14" fmla="*/ 568 w 672"/>
              <a:gd name="T15" fmla="*/ 412 h 598"/>
              <a:gd name="T16" fmla="*/ 528 w 672"/>
              <a:gd name="T17" fmla="*/ 456 h 598"/>
              <a:gd name="T18" fmla="*/ 504 w 672"/>
              <a:gd name="T19" fmla="*/ 516 h 598"/>
              <a:gd name="T20" fmla="*/ 496 w 672"/>
              <a:gd name="T21" fmla="*/ 548 h 598"/>
              <a:gd name="T22" fmla="*/ 492 w 672"/>
              <a:gd name="T23" fmla="*/ 584 h 598"/>
              <a:gd name="T24" fmla="*/ 444 w 672"/>
              <a:gd name="T25" fmla="*/ 572 h 598"/>
              <a:gd name="T26" fmla="*/ 388 w 672"/>
              <a:gd name="T27" fmla="*/ 568 h 598"/>
              <a:gd name="T28" fmla="*/ 328 w 672"/>
              <a:gd name="T29" fmla="*/ 516 h 598"/>
              <a:gd name="T30" fmla="*/ 252 w 672"/>
              <a:gd name="T31" fmla="*/ 568 h 598"/>
              <a:gd name="T32" fmla="*/ 164 w 672"/>
              <a:gd name="T33" fmla="*/ 572 h 598"/>
              <a:gd name="T34" fmla="*/ 132 w 672"/>
              <a:gd name="T35" fmla="*/ 508 h 598"/>
              <a:gd name="T36" fmla="*/ 88 w 672"/>
              <a:gd name="T37" fmla="*/ 504 h 598"/>
              <a:gd name="T38" fmla="*/ 72 w 672"/>
              <a:gd name="T39" fmla="*/ 508 h 598"/>
              <a:gd name="T40" fmla="*/ 40 w 672"/>
              <a:gd name="T41" fmla="*/ 532 h 598"/>
              <a:gd name="T42" fmla="*/ 16 w 672"/>
              <a:gd name="T43" fmla="*/ 528 h 598"/>
              <a:gd name="T44" fmla="*/ 28 w 672"/>
              <a:gd name="T45" fmla="*/ 484 h 598"/>
              <a:gd name="T46" fmla="*/ 36 w 672"/>
              <a:gd name="T47" fmla="*/ 460 h 598"/>
              <a:gd name="T48" fmla="*/ 40 w 672"/>
              <a:gd name="T49" fmla="*/ 448 h 598"/>
              <a:gd name="T50" fmla="*/ 36 w 672"/>
              <a:gd name="T51" fmla="*/ 412 h 598"/>
              <a:gd name="T52" fmla="*/ 28 w 672"/>
              <a:gd name="T53" fmla="*/ 388 h 598"/>
              <a:gd name="T54" fmla="*/ 64 w 672"/>
              <a:gd name="T55" fmla="*/ 300 h 598"/>
              <a:gd name="T56" fmla="*/ 104 w 672"/>
              <a:gd name="T57" fmla="*/ 268 h 598"/>
              <a:gd name="T58" fmla="*/ 164 w 672"/>
              <a:gd name="T59" fmla="*/ 220 h 598"/>
              <a:gd name="T60" fmla="*/ 208 w 672"/>
              <a:gd name="T61" fmla="*/ 212 h 598"/>
              <a:gd name="T62" fmla="*/ 304 w 672"/>
              <a:gd name="T63" fmla="*/ 180 h 598"/>
              <a:gd name="T64" fmla="*/ 328 w 672"/>
              <a:gd name="T65" fmla="*/ 144 h 598"/>
              <a:gd name="T66" fmla="*/ 348 w 672"/>
              <a:gd name="T67" fmla="*/ 96 h 598"/>
              <a:gd name="T68" fmla="*/ 384 w 672"/>
              <a:gd name="T69" fmla="*/ 64 h 598"/>
              <a:gd name="T70" fmla="*/ 416 w 672"/>
              <a:gd name="T71" fmla="*/ 56 h 598"/>
              <a:gd name="T72" fmla="*/ 428 w 672"/>
              <a:gd name="T73" fmla="*/ 36 h 59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672"/>
              <a:gd name="T112" fmla="*/ 0 h 598"/>
              <a:gd name="T113" fmla="*/ 672 w 672"/>
              <a:gd name="T114" fmla="*/ 598 h 598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672" h="598">
                <a:moveTo>
                  <a:pt x="428" y="36"/>
                </a:moveTo>
                <a:cubicBezTo>
                  <a:pt x="452" y="31"/>
                  <a:pt x="471" y="27"/>
                  <a:pt x="496" y="24"/>
                </a:cubicBezTo>
                <a:cubicBezTo>
                  <a:pt x="532" y="0"/>
                  <a:pt x="510" y="7"/>
                  <a:pt x="564" y="12"/>
                </a:cubicBezTo>
                <a:cubicBezTo>
                  <a:pt x="571" y="34"/>
                  <a:pt x="572" y="55"/>
                  <a:pt x="592" y="68"/>
                </a:cubicBezTo>
                <a:cubicBezTo>
                  <a:pt x="603" y="85"/>
                  <a:pt x="619" y="99"/>
                  <a:pt x="632" y="116"/>
                </a:cubicBezTo>
                <a:cubicBezTo>
                  <a:pt x="633" y="142"/>
                  <a:pt x="624" y="197"/>
                  <a:pt x="652" y="216"/>
                </a:cubicBezTo>
                <a:cubicBezTo>
                  <a:pt x="657" y="243"/>
                  <a:pt x="672" y="285"/>
                  <a:pt x="640" y="296"/>
                </a:cubicBezTo>
                <a:cubicBezTo>
                  <a:pt x="627" y="335"/>
                  <a:pt x="604" y="388"/>
                  <a:pt x="568" y="412"/>
                </a:cubicBezTo>
                <a:cubicBezTo>
                  <a:pt x="557" y="429"/>
                  <a:pt x="548" y="449"/>
                  <a:pt x="528" y="456"/>
                </a:cubicBezTo>
                <a:cubicBezTo>
                  <a:pt x="521" y="476"/>
                  <a:pt x="511" y="495"/>
                  <a:pt x="504" y="516"/>
                </a:cubicBezTo>
                <a:cubicBezTo>
                  <a:pt x="501" y="526"/>
                  <a:pt x="496" y="548"/>
                  <a:pt x="496" y="548"/>
                </a:cubicBezTo>
                <a:cubicBezTo>
                  <a:pt x="495" y="560"/>
                  <a:pt x="501" y="576"/>
                  <a:pt x="492" y="584"/>
                </a:cubicBezTo>
                <a:cubicBezTo>
                  <a:pt x="476" y="598"/>
                  <a:pt x="458" y="574"/>
                  <a:pt x="444" y="572"/>
                </a:cubicBezTo>
                <a:cubicBezTo>
                  <a:pt x="426" y="569"/>
                  <a:pt x="407" y="569"/>
                  <a:pt x="388" y="568"/>
                </a:cubicBezTo>
                <a:cubicBezTo>
                  <a:pt x="379" y="541"/>
                  <a:pt x="355" y="525"/>
                  <a:pt x="328" y="516"/>
                </a:cubicBezTo>
                <a:cubicBezTo>
                  <a:pt x="305" y="524"/>
                  <a:pt x="287" y="565"/>
                  <a:pt x="252" y="568"/>
                </a:cubicBezTo>
                <a:cubicBezTo>
                  <a:pt x="223" y="570"/>
                  <a:pt x="193" y="571"/>
                  <a:pt x="164" y="572"/>
                </a:cubicBezTo>
                <a:cubicBezTo>
                  <a:pt x="123" y="552"/>
                  <a:pt x="169" y="520"/>
                  <a:pt x="132" y="508"/>
                </a:cubicBezTo>
                <a:cubicBezTo>
                  <a:pt x="112" y="488"/>
                  <a:pt x="125" y="495"/>
                  <a:pt x="88" y="504"/>
                </a:cubicBezTo>
                <a:cubicBezTo>
                  <a:pt x="83" y="505"/>
                  <a:pt x="72" y="508"/>
                  <a:pt x="72" y="508"/>
                </a:cubicBezTo>
                <a:cubicBezTo>
                  <a:pt x="63" y="522"/>
                  <a:pt x="56" y="527"/>
                  <a:pt x="40" y="532"/>
                </a:cubicBezTo>
                <a:cubicBezTo>
                  <a:pt x="32" y="531"/>
                  <a:pt x="23" y="533"/>
                  <a:pt x="16" y="528"/>
                </a:cubicBezTo>
                <a:cubicBezTo>
                  <a:pt x="0" y="516"/>
                  <a:pt x="21" y="491"/>
                  <a:pt x="28" y="484"/>
                </a:cubicBezTo>
                <a:cubicBezTo>
                  <a:pt x="31" y="476"/>
                  <a:pt x="33" y="468"/>
                  <a:pt x="36" y="460"/>
                </a:cubicBezTo>
                <a:cubicBezTo>
                  <a:pt x="37" y="456"/>
                  <a:pt x="40" y="448"/>
                  <a:pt x="40" y="448"/>
                </a:cubicBezTo>
                <a:cubicBezTo>
                  <a:pt x="39" y="436"/>
                  <a:pt x="38" y="424"/>
                  <a:pt x="36" y="412"/>
                </a:cubicBezTo>
                <a:cubicBezTo>
                  <a:pt x="34" y="404"/>
                  <a:pt x="28" y="388"/>
                  <a:pt x="28" y="388"/>
                </a:cubicBezTo>
                <a:cubicBezTo>
                  <a:pt x="31" y="357"/>
                  <a:pt x="27" y="312"/>
                  <a:pt x="64" y="300"/>
                </a:cubicBezTo>
                <a:cubicBezTo>
                  <a:pt x="71" y="279"/>
                  <a:pt x="87" y="277"/>
                  <a:pt x="104" y="268"/>
                </a:cubicBezTo>
                <a:cubicBezTo>
                  <a:pt x="127" y="255"/>
                  <a:pt x="142" y="233"/>
                  <a:pt x="164" y="220"/>
                </a:cubicBezTo>
                <a:cubicBezTo>
                  <a:pt x="170" y="216"/>
                  <a:pt x="207" y="212"/>
                  <a:pt x="208" y="212"/>
                </a:cubicBezTo>
                <a:cubicBezTo>
                  <a:pt x="238" y="197"/>
                  <a:pt x="271" y="187"/>
                  <a:pt x="304" y="180"/>
                </a:cubicBezTo>
                <a:cubicBezTo>
                  <a:pt x="316" y="168"/>
                  <a:pt x="319" y="158"/>
                  <a:pt x="328" y="144"/>
                </a:cubicBezTo>
                <a:cubicBezTo>
                  <a:pt x="333" y="123"/>
                  <a:pt x="331" y="107"/>
                  <a:pt x="348" y="96"/>
                </a:cubicBezTo>
                <a:cubicBezTo>
                  <a:pt x="353" y="80"/>
                  <a:pt x="366" y="71"/>
                  <a:pt x="384" y="64"/>
                </a:cubicBezTo>
                <a:cubicBezTo>
                  <a:pt x="394" y="60"/>
                  <a:pt x="416" y="56"/>
                  <a:pt x="416" y="56"/>
                </a:cubicBezTo>
                <a:cubicBezTo>
                  <a:pt x="434" y="38"/>
                  <a:pt x="451" y="44"/>
                  <a:pt x="428" y="36"/>
                </a:cubicBezTo>
                <a:close/>
              </a:path>
            </a:pathLst>
          </a:custGeom>
          <a:solidFill>
            <a:srgbClr val="FFCD0F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78" name="Freeform 82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628860" y="2368079"/>
            <a:ext cx="778119" cy="381000"/>
          </a:xfrm>
          <a:custGeom>
            <a:avLst/>
            <a:gdLst>
              <a:gd name="T0" fmla="*/ 126 w 551"/>
              <a:gd name="T1" fmla="*/ 91 h 217"/>
              <a:gd name="T2" fmla="*/ 228 w 551"/>
              <a:gd name="T3" fmla="*/ 124 h 217"/>
              <a:gd name="T4" fmla="*/ 363 w 551"/>
              <a:gd name="T5" fmla="*/ 115 h 217"/>
              <a:gd name="T6" fmla="*/ 396 w 551"/>
              <a:gd name="T7" fmla="*/ 103 h 217"/>
              <a:gd name="T8" fmla="*/ 435 w 551"/>
              <a:gd name="T9" fmla="*/ 70 h 217"/>
              <a:gd name="T10" fmla="*/ 450 w 551"/>
              <a:gd name="T11" fmla="*/ 58 h 217"/>
              <a:gd name="T12" fmla="*/ 480 w 551"/>
              <a:gd name="T13" fmla="*/ 13 h 217"/>
              <a:gd name="T14" fmla="*/ 522 w 551"/>
              <a:gd name="T15" fmla="*/ 4 h 217"/>
              <a:gd name="T16" fmla="*/ 543 w 551"/>
              <a:gd name="T17" fmla="*/ 7 h 217"/>
              <a:gd name="T18" fmla="*/ 513 w 551"/>
              <a:gd name="T19" fmla="*/ 94 h 217"/>
              <a:gd name="T20" fmla="*/ 408 w 551"/>
              <a:gd name="T21" fmla="*/ 202 h 217"/>
              <a:gd name="T22" fmla="*/ 366 w 551"/>
              <a:gd name="T23" fmla="*/ 217 h 217"/>
              <a:gd name="T24" fmla="*/ 210 w 551"/>
              <a:gd name="T25" fmla="*/ 208 h 217"/>
              <a:gd name="T26" fmla="*/ 177 w 551"/>
              <a:gd name="T27" fmla="*/ 199 h 217"/>
              <a:gd name="T28" fmla="*/ 117 w 551"/>
              <a:gd name="T29" fmla="*/ 184 h 217"/>
              <a:gd name="T30" fmla="*/ 48 w 551"/>
              <a:gd name="T31" fmla="*/ 175 h 217"/>
              <a:gd name="T32" fmla="*/ 0 w 551"/>
              <a:gd name="T33" fmla="*/ 181 h 217"/>
              <a:gd name="T34" fmla="*/ 12 w 551"/>
              <a:gd name="T35" fmla="*/ 136 h 217"/>
              <a:gd name="T36" fmla="*/ 57 w 551"/>
              <a:gd name="T37" fmla="*/ 106 h 217"/>
              <a:gd name="T38" fmla="*/ 114 w 551"/>
              <a:gd name="T39" fmla="*/ 97 h 217"/>
              <a:gd name="T40" fmla="*/ 126 w 551"/>
              <a:gd name="T41" fmla="*/ 91 h 217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551"/>
              <a:gd name="T64" fmla="*/ 0 h 217"/>
              <a:gd name="T65" fmla="*/ 551 w 551"/>
              <a:gd name="T66" fmla="*/ 217 h 217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551" h="217">
                <a:moveTo>
                  <a:pt x="126" y="91"/>
                </a:moveTo>
                <a:cubicBezTo>
                  <a:pt x="136" y="129"/>
                  <a:pt x="196" y="116"/>
                  <a:pt x="228" y="124"/>
                </a:cubicBezTo>
                <a:cubicBezTo>
                  <a:pt x="273" y="122"/>
                  <a:pt x="318" y="120"/>
                  <a:pt x="363" y="115"/>
                </a:cubicBezTo>
                <a:cubicBezTo>
                  <a:pt x="375" y="111"/>
                  <a:pt x="383" y="106"/>
                  <a:pt x="396" y="103"/>
                </a:cubicBezTo>
                <a:cubicBezTo>
                  <a:pt x="412" y="93"/>
                  <a:pt x="420" y="80"/>
                  <a:pt x="435" y="70"/>
                </a:cubicBezTo>
                <a:cubicBezTo>
                  <a:pt x="452" y="44"/>
                  <a:pt x="429" y="75"/>
                  <a:pt x="450" y="58"/>
                </a:cubicBezTo>
                <a:cubicBezTo>
                  <a:pt x="451" y="58"/>
                  <a:pt x="480" y="13"/>
                  <a:pt x="480" y="13"/>
                </a:cubicBezTo>
                <a:cubicBezTo>
                  <a:pt x="484" y="7"/>
                  <a:pt x="518" y="5"/>
                  <a:pt x="522" y="4"/>
                </a:cubicBezTo>
                <a:cubicBezTo>
                  <a:pt x="529" y="5"/>
                  <a:pt x="541" y="0"/>
                  <a:pt x="543" y="7"/>
                </a:cubicBezTo>
                <a:cubicBezTo>
                  <a:pt x="551" y="33"/>
                  <a:pt x="544" y="84"/>
                  <a:pt x="513" y="94"/>
                </a:cubicBezTo>
                <a:cubicBezTo>
                  <a:pt x="479" y="128"/>
                  <a:pt x="457" y="186"/>
                  <a:pt x="408" y="202"/>
                </a:cubicBezTo>
                <a:cubicBezTo>
                  <a:pt x="394" y="216"/>
                  <a:pt x="388" y="214"/>
                  <a:pt x="366" y="217"/>
                </a:cubicBezTo>
                <a:cubicBezTo>
                  <a:pt x="312" y="214"/>
                  <a:pt x="264" y="210"/>
                  <a:pt x="210" y="208"/>
                </a:cubicBezTo>
                <a:cubicBezTo>
                  <a:pt x="199" y="204"/>
                  <a:pt x="177" y="199"/>
                  <a:pt x="177" y="199"/>
                </a:cubicBezTo>
                <a:cubicBezTo>
                  <a:pt x="159" y="187"/>
                  <a:pt x="139" y="186"/>
                  <a:pt x="117" y="184"/>
                </a:cubicBezTo>
                <a:cubicBezTo>
                  <a:pt x="93" y="176"/>
                  <a:pt x="77" y="177"/>
                  <a:pt x="48" y="175"/>
                </a:cubicBezTo>
                <a:cubicBezTo>
                  <a:pt x="27" y="178"/>
                  <a:pt x="19" y="185"/>
                  <a:pt x="0" y="181"/>
                </a:cubicBezTo>
                <a:cubicBezTo>
                  <a:pt x="3" y="157"/>
                  <a:pt x="6" y="155"/>
                  <a:pt x="12" y="136"/>
                </a:cubicBezTo>
                <a:cubicBezTo>
                  <a:pt x="17" y="103"/>
                  <a:pt x="28" y="110"/>
                  <a:pt x="57" y="106"/>
                </a:cubicBezTo>
                <a:cubicBezTo>
                  <a:pt x="75" y="100"/>
                  <a:pt x="95" y="100"/>
                  <a:pt x="114" y="97"/>
                </a:cubicBezTo>
                <a:cubicBezTo>
                  <a:pt x="136" y="90"/>
                  <a:pt x="135" y="109"/>
                  <a:pt x="126" y="91"/>
                </a:cubicBezTo>
                <a:close/>
              </a:path>
            </a:pathLst>
          </a:custGeom>
          <a:solidFill>
            <a:srgbClr val="FFCD0F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79" name="Freeform 83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6283027" y="2444283"/>
            <a:ext cx="789842" cy="1120775"/>
          </a:xfrm>
          <a:custGeom>
            <a:avLst/>
            <a:gdLst>
              <a:gd name="T0" fmla="*/ 369 w 560"/>
              <a:gd name="T1" fmla="*/ 51 h 639"/>
              <a:gd name="T2" fmla="*/ 327 w 560"/>
              <a:gd name="T3" fmla="*/ 39 h 639"/>
              <a:gd name="T4" fmla="*/ 309 w 560"/>
              <a:gd name="T5" fmla="*/ 36 h 639"/>
              <a:gd name="T6" fmla="*/ 297 w 560"/>
              <a:gd name="T7" fmla="*/ 9 h 639"/>
              <a:gd name="T8" fmla="*/ 264 w 560"/>
              <a:gd name="T9" fmla="*/ 0 h 639"/>
              <a:gd name="T10" fmla="*/ 201 w 560"/>
              <a:gd name="T11" fmla="*/ 18 h 639"/>
              <a:gd name="T12" fmla="*/ 159 w 560"/>
              <a:gd name="T13" fmla="*/ 75 h 639"/>
              <a:gd name="T14" fmla="*/ 117 w 560"/>
              <a:gd name="T15" fmla="*/ 78 h 639"/>
              <a:gd name="T16" fmla="*/ 102 w 560"/>
              <a:gd name="T17" fmla="*/ 105 h 639"/>
              <a:gd name="T18" fmla="*/ 84 w 560"/>
              <a:gd name="T19" fmla="*/ 120 h 639"/>
              <a:gd name="T20" fmla="*/ 72 w 560"/>
              <a:gd name="T21" fmla="*/ 171 h 639"/>
              <a:gd name="T22" fmla="*/ 57 w 560"/>
              <a:gd name="T23" fmla="*/ 174 h 639"/>
              <a:gd name="T24" fmla="*/ 39 w 560"/>
              <a:gd name="T25" fmla="*/ 183 h 639"/>
              <a:gd name="T26" fmla="*/ 57 w 560"/>
              <a:gd name="T27" fmla="*/ 210 h 639"/>
              <a:gd name="T28" fmla="*/ 24 w 560"/>
              <a:gd name="T29" fmla="*/ 306 h 639"/>
              <a:gd name="T30" fmla="*/ 75 w 560"/>
              <a:gd name="T31" fmla="*/ 381 h 639"/>
              <a:gd name="T32" fmla="*/ 90 w 560"/>
              <a:gd name="T33" fmla="*/ 408 h 639"/>
              <a:gd name="T34" fmla="*/ 192 w 560"/>
              <a:gd name="T35" fmla="*/ 459 h 639"/>
              <a:gd name="T36" fmla="*/ 288 w 560"/>
              <a:gd name="T37" fmla="*/ 516 h 639"/>
              <a:gd name="T38" fmla="*/ 315 w 560"/>
              <a:gd name="T39" fmla="*/ 576 h 639"/>
              <a:gd name="T40" fmla="*/ 354 w 560"/>
              <a:gd name="T41" fmla="*/ 582 h 639"/>
              <a:gd name="T42" fmla="*/ 375 w 560"/>
              <a:gd name="T43" fmla="*/ 603 h 639"/>
              <a:gd name="T44" fmla="*/ 408 w 560"/>
              <a:gd name="T45" fmla="*/ 633 h 639"/>
              <a:gd name="T46" fmla="*/ 417 w 560"/>
              <a:gd name="T47" fmla="*/ 639 h 639"/>
              <a:gd name="T48" fmla="*/ 456 w 560"/>
              <a:gd name="T49" fmla="*/ 609 h 639"/>
              <a:gd name="T50" fmla="*/ 420 w 560"/>
              <a:gd name="T51" fmla="*/ 594 h 639"/>
              <a:gd name="T52" fmla="*/ 408 w 560"/>
              <a:gd name="T53" fmla="*/ 591 h 639"/>
              <a:gd name="T54" fmla="*/ 399 w 560"/>
              <a:gd name="T55" fmla="*/ 573 h 639"/>
              <a:gd name="T56" fmla="*/ 381 w 560"/>
              <a:gd name="T57" fmla="*/ 567 h 639"/>
              <a:gd name="T58" fmla="*/ 345 w 560"/>
              <a:gd name="T59" fmla="*/ 504 h 639"/>
              <a:gd name="T60" fmla="*/ 336 w 560"/>
              <a:gd name="T61" fmla="*/ 486 h 639"/>
              <a:gd name="T62" fmla="*/ 321 w 560"/>
              <a:gd name="T63" fmla="*/ 483 h 639"/>
              <a:gd name="T64" fmla="*/ 309 w 560"/>
              <a:gd name="T65" fmla="*/ 465 h 639"/>
              <a:gd name="T66" fmla="*/ 351 w 560"/>
              <a:gd name="T67" fmla="*/ 432 h 639"/>
              <a:gd name="T68" fmla="*/ 381 w 560"/>
              <a:gd name="T69" fmla="*/ 417 h 639"/>
              <a:gd name="T70" fmla="*/ 414 w 560"/>
              <a:gd name="T71" fmla="*/ 390 h 639"/>
              <a:gd name="T72" fmla="*/ 447 w 560"/>
              <a:gd name="T73" fmla="*/ 363 h 639"/>
              <a:gd name="T74" fmla="*/ 474 w 560"/>
              <a:gd name="T75" fmla="*/ 324 h 639"/>
              <a:gd name="T76" fmla="*/ 549 w 560"/>
              <a:gd name="T77" fmla="*/ 309 h 639"/>
              <a:gd name="T78" fmla="*/ 555 w 560"/>
              <a:gd name="T79" fmla="*/ 270 h 639"/>
              <a:gd name="T80" fmla="*/ 507 w 560"/>
              <a:gd name="T81" fmla="*/ 273 h 639"/>
              <a:gd name="T82" fmla="*/ 390 w 560"/>
              <a:gd name="T83" fmla="*/ 306 h 639"/>
              <a:gd name="T84" fmla="*/ 312 w 560"/>
              <a:gd name="T85" fmla="*/ 321 h 639"/>
              <a:gd name="T86" fmla="*/ 267 w 560"/>
              <a:gd name="T87" fmla="*/ 360 h 639"/>
              <a:gd name="T88" fmla="*/ 225 w 560"/>
              <a:gd name="T89" fmla="*/ 369 h 639"/>
              <a:gd name="T90" fmla="*/ 186 w 560"/>
              <a:gd name="T91" fmla="*/ 336 h 639"/>
              <a:gd name="T92" fmla="*/ 141 w 560"/>
              <a:gd name="T93" fmla="*/ 309 h 639"/>
              <a:gd name="T94" fmla="*/ 129 w 560"/>
              <a:gd name="T95" fmla="*/ 243 h 639"/>
              <a:gd name="T96" fmla="*/ 120 w 560"/>
              <a:gd name="T97" fmla="*/ 216 h 639"/>
              <a:gd name="T98" fmla="*/ 195 w 560"/>
              <a:gd name="T99" fmla="*/ 147 h 639"/>
              <a:gd name="T100" fmla="*/ 252 w 560"/>
              <a:gd name="T101" fmla="*/ 126 h 639"/>
              <a:gd name="T102" fmla="*/ 264 w 560"/>
              <a:gd name="T103" fmla="*/ 84 h 639"/>
              <a:gd name="T104" fmla="*/ 369 w 560"/>
              <a:gd name="T105" fmla="*/ 63 h 639"/>
              <a:gd name="T106" fmla="*/ 369 w 560"/>
              <a:gd name="T107" fmla="*/ 51 h 63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560"/>
              <a:gd name="T163" fmla="*/ 0 h 639"/>
              <a:gd name="T164" fmla="*/ 560 w 560"/>
              <a:gd name="T165" fmla="*/ 639 h 63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560" h="639">
                <a:moveTo>
                  <a:pt x="369" y="51"/>
                </a:moveTo>
                <a:cubicBezTo>
                  <a:pt x="364" y="18"/>
                  <a:pt x="356" y="29"/>
                  <a:pt x="327" y="39"/>
                </a:cubicBezTo>
                <a:cubicBezTo>
                  <a:pt x="321" y="38"/>
                  <a:pt x="314" y="40"/>
                  <a:pt x="309" y="36"/>
                </a:cubicBezTo>
                <a:cubicBezTo>
                  <a:pt x="300" y="28"/>
                  <a:pt x="308" y="16"/>
                  <a:pt x="297" y="9"/>
                </a:cubicBezTo>
                <a:cubicBezTo>
                  <a:pt x="290" y="5"/>
                  <a:pt x="273" y="2"/>
                  <a:pt x="264" y="0"/>
                </a:cubicBezTo>
                <a:cubicBezTo>
                  <a:pt x="239" y="3"/>
                  <a:pt x="224" y="10"/>
                  <a:pt x="201" y="18"/>
                </a:cubicBezTo>
                <a:cubicBezTo>
                  <a:pt x="188" y="31"/>
                  <a:pt x="174" y="73"/>
                  <a:pt x="159" y="75"/>
                </a:cubicBezTo>
                <a:cubicBezTo>
                  <a:pt x="145" y="77"/>
                  <a:pt x="131" y="77"/>
                  <a:pt x="117" y="78"/>
                </a:cubicBezTo>
                <a:cubicBezTo>
                  <a:pt x="111" y="86"/>
                  <a:pt x="109" y="98"/>
                  <a:pt x="102" y="105"/>
                </a:cubicBezTo>
                <a:cubicBezTo>
                  <a:pt x="96" y="111"/>
                  <a:pt x="90" y="114"/>
                  <a:pt x="84" y="120"/>
                </a:cubicBezTo>
                <a:cubicBezTo>
                  <a:pt x="83" y="125"/>
                  <a:pt x="74" y="169"/>
                  <a:pt x="72" y="171"/>
                </a:cubicBezTo>
                <a:cubicBezTo>
                  <a:pt x="69" y="175"/>
                  <a:pt x="62" y="173"/>
                  <a:pt x="57" y="174"/>
                </a:cubicBezTo>
                <a:cubicBezTo>
                  <a:pt x="51" y="178"/>
                  <a:pt x="40" y="176"/>
                  <a:pt x="39" y="183"/>
                </a:cubicBezTo>
                <a:cubicBezTo>
                  <a:pt x="33" y="210"/>
                  <a:pt x="40" y="207"/>
                  <a:pt x="57" y="210"/>
                </a:cubicBezTo>
                <a:cubicBezTo>
                  <a:pt x="67" y="240"/>
                  <a:pt x="59" y="294"/>
                  <a:pt x="24" y="306"/>
                </a:cubicBezTo>
                <a:cubicBezTo>
                  <a:pt x="0" y="342"/>
                  <a:pt x="46" y="367"/>
                  <a:pt x="75" y="381"/>
                </a:cubicBezTo>
                <a:cubicBezTo>
                  <a:pt x="79" y="388"/>
                  <a:pt x="83" y="404"/>
                  <a:pt x="90" y="408"/>
                </a:cubicBezTo>
                <a:cubicBezTo>
                  <a:pt x="122" y="429"/>
                  <a:pt x="160" y="438"/>
                  <a:pt x="192" y="459"/>
                </a:cubicBezTo>
                <a:cubicBezTo>
                  <a:pt x="218" y="497"/>
                  <a:pt x="241" y="512"/>
                  <a:pt x="288" y="516"/>
                </a:cubicBezTo>
                <a:cubicBezTo>
                  <a:pt x="293" y="531"/>
                  <a:pt x="302" y="570"/>
                  <a:pt x="315" y="576"/>
                </a:cubicBezTo>
                <a:cubicBezTo>
                  <a:pt x="320" y="578"/>
                  <a:pt x="354" y="582"/>
                  <a:pt x="354" y="582"/>
                </a:cubicBezTo>
                <a:cubicBezTo>
                  <a:pt x="363" y="591"/>
                  <a:pt x="363" y="599"/>
                  <a:pt x="375" y="603"/>
                </a:cubicBezTo>
                <a:cubicBezTo>
                  <a:pt x="388" y="616"/>
                  <a:pt x="392" y="623"/>
                  <a:pt x="408" y="633"/>
                </a:cubicBezTo>
                <a:cubicBezTo>
                  <a:pt x="411" y="635"/>
                  <a:pt x="417" y="639"/>
                  <a:pt x="417" y="639"/>
                </a:cubicBezTo>
                <a:cubicBezTo>
                  <a:pt x="444" y="635"/>
                  <a:pt x="449" y="635"/>
                  <a:pt x="456" y="609"/>
                </a:cubicBezTo>
                <a:cubicBezTo>
                  <a:pt x="437" y="595"/>
                  <a:pt x="449" y="601"/>
                  <a:pt x="420" y="594"/>
                </a:cubicBezTo>
                <a:cubicBezTo>
                  <a:pt x="416" y="593"/>
                  <a:pt x="408" y="591"/>
                  <a:pt x="408" y="591"/>
                </a:cubicBezTo>
                <a:cubicBezTo>
                  <a:pt x="404" y="585"/>
                  <a:pt x="404" y="577"/>
                  <a:pt x="399" y="573"/>
                </a:cubicBezTo>
                <a:cubicBezTo>
                  <a:pt x="394" y="569"/>
                  <a:pt x="381" y="567"/>
                  <a:pt x="381" y="567"/>
                </a:cubicBezTo>
                <a:cubicBezTo>
                  <a:pt x="368" y="547"/>
                  <a:pt x="356" y="525"/>
                  <a:pt x="345" y="504"/>
                </a:cubicBezTo>
                <a:cubicBezTo>
                  <a:pt x="342" y="499"/>
                  <a:pt x="342" y="489"/>
                  <a:pt x="336" y="486"/>
                </a:cubicBezTo>
                <a:cubicBezTo>
                  <a:pt x="332" y="483"/>
                  <a:pt x="326" y="484"/>
                  <a:pt x="321" y="483"/>
                </a:cubicBezTo>
                <a:cubicBezTo>
                  <a:pt x="317" y="477"/>
                  <a:pt x="313" y="471"/>
                  <a:pt x="309" y="465"/>
                </a:cubicBezTo>
                <a:cubicBezTo>
                  <a:pt x="297" y="447"/>
                  <a:pt x="343" y="434"/>
                  <a:pt x="351" y="432"/>
                </a:cubicBezTo>
                <a:cubicBezTo>
                  <a:pt x="372" y="418"/>
                  <a:pt x="362" y="422"/>
                  <a:pt x="381" y="417"/>
                </a:cubicBezTo>
                <a:cubicBezTo>
                  <a:pt x="394" y="408"/>
                  <a:pt x="399" y="395"/>
                  <a:pt x="414" y="390"/>
                </a:cubicBezTo>
                <a:cubicBezTo>
                  <a:pt x="423" y="377"/>
                  <a:pt x="432" y="368"/>
                  <a:pt x="447" y="363"/>
                </a:cubicBezTo>
                <a:cubicBezTo>
                  <a:pt x="467" y="348"/>
                  <a:pt x="462" y="334"/>
                  <a:pt x="474" y="324"/>
                </a:cubicBezTo>
                <a:cubicBezTo>
                  <a:pt x="487" y="314"/>
                  <a:pt x="529" y="316"/>
                  <a:pt x="549" y="309"/>
                </a:cubicBezTo>
                <a:cubicBezTo>
                  <a:pt x="560" y="293"/>
                  <a:pt x="558" y="291"/>
                  <a:pt x="555" y="270"/>
                </a:cubicBezTo>
                <a:cubicBezTo>
                  <a:pt x="539" y="271"/>
                  <a:pt x="523" y="271"/>
                  <a:pt x="507" y="273"/>
                </a:cubicBezTo>
                <a:cubicBezTo>
                  <a:pt x="467" y="279"/>
                  <a:pt x="431" y="301"/>
                  <a:pt x="390" y="306"/>
                </a:cubicBezTo>
                <a:cubicBezTo>
                  <a:pt x="364" y="313"/>
                  <a:pt x="339" y="318"/>
                  <a:pt x="312" y="321"/>
                </a:cubicBezTo>
                <a:cubicBezTo>
                  <a:pt x="290" y="328"/>
                  <a:pt x="286" y="350"/>
                  <a:pt x="267" y="360"/>
                </a:cubicBezTo>
                <a:cubicBezTo>
                  <a:pt x="255" y="367"/>
                  <a:pt x="238" y="367"/>
                  <a:pt x="225" y="369"/>
                </a:cubicBezTo>
                <a:cubicBezTo>
                  <a:pt x="188" y="363"/>
                  <a:pt x="208" y="354"/>
                  <a:pt x="186" y="336"/>
                </a:cubicBezTo>
                <a:cubicBezTo>
                  <a:pt x="172" y="324"/>
                  <a:pt x="156" y="319"/>
                  <a:pt x="141" y="309"/>
                </a:cubicBezTo>
                <a:cubicBezTo>
                  <a:pt x="126" y="286"/>
                  <a:pt x="134" y="278"/>
                  <a:pt x="129" y="243"/>
                </a:cubicBezTo>
                <a:cubicBezTo>
                  <a:pt x="128" y="234"/>
                  <a:pt x="120" y="216"/>
                  <a:pt x="120" y="216"/>
                </a:cubicBezTo>
                <a:cubicBezTo>
                  <a:pt x="125" y="162"/>
                  <a:pt x="143" y="152"/>
                  <a:pt x="195" y="147"/>
                </a:cubicBezTo>
                <a:cubicBezTo>
                  <a:pt x="225" y="140"/>
                  <a:pt x="211" y="131"/>
                  <a:pt x="252" y="126"/>
                </a:cubicBezTo>
                <a:cubicBezTo>
                  <a:pt x="256" y="113"/>
                  <a:pt x="252" y="92"/>
                  <a:pt x="264" y="84"/>
                </a:cubicBezTo>
                <a:cubicBezTo>
                  <a:pt x="291" y="67"/>
                  <a:pt x="342" y="64"/>
                  <a:pt x="369" y="63"/>
                </a:cubicBezTo>
                <a:cubicBezTo>
                  <a:pt x="372" y="53"/>
                  <a:pt x="374" y="56"/>
                  <a:pt x="369" y="51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80" name="Freeform 84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6181918" y="3001491"/>
            <a:ext cx="530469" cy="1138238"/>
          </a:xfrm>
          <a:custGeom>
            <a:avLst/>
            <a:gdLst>
              <a:gd name="T0" fmla="*/ 84 w 376"/>
              <a:gd name="T1" fmla="*/ 0 h 648"/>
              <a:gd name="T2" fmla="*/ 72 w 376"/>
              <a:gd name="T3" fmla="*/ 54 h 648"/>
              <a:gd name="T4" fmla="*/ 51 w 376"/>
              <a:gd name="T5" fmla="*/ 186 h 648"/>
              <a:gd name="T6" fmla="*/ 0 w 376"/>
              <a:gd name="T7" fmla="*/ 246 h 648"/>
              <a:gd name="T8" fmla="*/ 21 w 376"/>
              <a:gd name="T9" fmla="*/ 291 h 648"/>
              <a:gd name="T10" fmla="*/ 48 w 376"/>
              <a:gd name="T11" fmla="*/ 351 h 648"/>
              <a:gd name="T12" fmla="*/ 66 w 376"/>
              <a:gd name="T13" fmla="*/ 363 h 648"/>
              <a:gd name="T14" fmla="*/ 84 w 376"/>
              <a:gd name="T15" fmla="*/ 387 h 648"/>
              <a:gd name="T16" fmla="*/ 105 w 376"/>
              <a:gd name="T17" fmla="*/ 420 h 648"/>
              <a:gd name="T18" fmla="*/ 90 w 376"/>
              <a:gd name="T19" fmla="*/ 516 h 648"/>
              <a:gd name="T20" fmla="*/ 117 w 376"/>
              <a:gd name="T21" fmla="*/ 648 h 648"/>
              <a:gd name="T22" fmla="*/ 189 w 376"/>
              <a:gd name="T23" fmla="*/ 645 h 648"/>
              <a:gd name="T24" fmla="*/ 216 w 376"/>
              <a:gd name="T25" fmla="*/ 621 h 648"/>
              <a:gd name="T26" fmla="*/ 219 w 376"/>
              <a:gd name="T27" fmla="*/ 594 h 648"/>
              <a:gd name="T28" fmla="*/ 225 w 376"/>
              <a:gd name="T29" fmla="*/ 576 h 648"/>
              <a:gd name="T30" fmla="*/ 189 w 376"/>
              <a:gd name="T31" fmla="*/ 288 h 648"/>
              <a:gd name="T32" fmla="*/ 234 w 376"/>
              <a:gd name="T33" fmla="*/ 249 h 648"/>
              <a:gd name="T34" fmla="*/ 279 w 376"/>
              <a:gd name="T35" fmla="*/ 255 h 648"/>
              <a:gd name="T36" fmla="*/ 312 w 376"/>
              <a:gd name="T37" fmla="*/ 282 h 648"/>
              <a:gd name="T38" fmla="*/ 366 w 376"/>
              <a:gd name="T39" fmla="*/ 279 h 648"/>
              <a:gd name="T40" fmla="*/ 375 w 376"/>
              <a:gd name="T41" fmla="*/ 252 h 648"/>
              <a:gd name="T42" fmla="*/ 363 w 376"/>
              <a:gd name="T43" fmla="*/ 201 h 648"/>
              <a:gd name="T44" fmla="*/ 327 w 376"/>
              <a:gd name="T45" fmla="*/ 189 h 648"/>
              <a:gd name="T46" fmla="*/ 309 w 376"/>
              <a:gd name="T47" fmla="*/ 183 h 648"/>
              <a:gd name="T48" fmla="*/ 282 w 376"/>
              <a:gd name="T49" fmla="*/ 150 h 648"/>
              <a:gd name="T50" fmla="*/ 246 w 376"/>
              <a:gd name="T51" fmla="*/ 126 h 648"/>
              <a:gd name="T52" fmla="*/ 222 w 376"/>
              <a:gd name="T53" fmla="*/ 120 h 648"/>
              <a:gd name="T54" fmla="*/ 180 w 376"/>
              <a:gd name="T55" fmla="*/ 99 h 648"/>
              <a:gd name="T56" fmla="*/ 159 w 376"/>
              <a:gd name="T57" fmla="*/ 78 h 648"/>
              <a:gd name="T58" fmla="*/ 144 w 376"/>
              <a:gd name="T59" fmla="*/ 51 h 648"/>
              <a:gd name="T60" fmla="*/ 105 w 376"/>
              <a:gd name="T61" fmla="*/ 27 h 648"/>
              <a:gd name="T62" fmla="*/ 84 w 376"/>
              <a:gd name="T63" fmla="*/ 0 h 64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376"/>
              <a:gd name="T97" fmla="*/ 0 h 648"/>
              <a:gd name="T98" fmla="*/ 376 w 376"/>
              <a:gd name="T99" fmla="*/ 648 h 64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376" h="648">
                <a:moveTo>
                  <a:pt x="84" y="0"/>
                </a:moveTo>
                <a:cubicBezTo>
                  <a:pt x="78" y="18"/>
                  <a:pt x="76" y="35"/>
                  <a:pt x="72" y="54"/>
                </a:cubicBezTo>
                <a:cubicBezTo>
                  <a:pt x="71" y="79"/>
                  <a:pt x="88" y="161"/>
                  <a:pt x="51" y="186"/>
                </a:cubicBezTo>
                <a:cubicBezTo>
                  <a:pt x="37" y="207"/>
                  <a:pt x="22" y="232"/>
                  <a:pt x="0" y="246"/>
                </a:cubicBezTo>
                <a:cubicBezTo>
                  <a:pt x="3" y="275"/>
                  <a:pt x="0" y="277"/>
                  <a:pt x="21" y="291"/>
                </a:cubicBezTo>
                <a:cubicBezTo>
                  <a:pt x="35" y="312"/>
                  <a:pt x="19" y="341"/>
                  <a:pt x="48" y="351"/>
                </a:cubicBezTo>
                <a:cubicBezTo>
                  <a:pt x="63" y="374"/>
                  <a:pt x="43" y="348"/>
                  <a:pt x="66" y="363"/>
                </a:cubicBezTo>
                <a:cubicBezTo>
                  <a:pt x="76" y="369"/>
                  <a:pt x="73" y="380"/>
                  <a:pt x="84" y="387"/>
                </a:cubicBezTo>
                <a:cubicBezTo>
                  <a:pt x="88" y="400"/>
                  <a:pt x="100" y="405"/>
                  <a:pt x="105" y="420"/>
                </a:cubicBezTo>
                <a:cubicBezTo>
                  <a:pt x="103" y="463"/>
                  <a:pt x="112" y="486"/>
                  <a:pt x="90" y="516"/>
                </a:cubicBezTo>
                <a:cubicBezTo>
                  <a:pt x="80" y="556"/>
                  <a:pt x="85" y="616"/>
                  <a:pt x="117" y="648"/>
                </a:cubicBezTo>
                <a:cubicBezTo>
                  <a:pt x="149" y="645"/>
                  <a:pt x="158" y="642"/>
                  <a:pt x="189" y="645"/>
                </a:cubicBezTo>
                <a:cubicBezTo>
                  <a:pt x="208" y="641"/>
                  <a:pt x="208" y="638"/>
                  <a:pt x="216" y="621"/>
                </a:cubicBezTo>
                <a:cubicBezTo>
                  <a:pt x="217" y="612"/>
                  <a:pt x="217" y="603"/>
                  <a:pt x="219" y="594"/>
                </a:cubicBezTo>
                <a:cubicBezTo>
                  <a:pt x="220" y="588"/>
                  <a:pt x="225" y="576"/>
                  <a:pt x="225" y="576"/>
                </a:cubicBezTo>
                <a:cubicBezTo>
                  <a:pt x="229" y="482"/>
                  <a:pt x="244" y="371"/>
                  <a:pt x="189" y="288"/>
                </a:cubicBezTo>
                <a:cubicBezTo>
                  <a:pt x="195" y="260"/>
                  <a:pt x="212" y="260"/>
                  <a:pt x="234" y="249"/>
                </a:cubicBezTo>
                <a:cubicBezTo>
                  <a:pt x="249" y="250"/>
                  <a:pt x="268" y="244"/>
                  <a:pt x="279" y="255"/>
                </a:cubicBezTo>
                <a:cubicBezTo>
                  <a:pt x="295" y="271"/>
                  <a:pt x="281" y="276"/>
                  <a:pt x="312" y="282"/>
                </a:cubicBezTo>
                <a:cubicBezTo>
                  <a:pt x="330" y="281"/>
                  <a:pt x="349" y="285"/>
                  <a:pt x="366" y="279"/>
                </a:cubicBezTo>
                <a:cubicBezTo>
                  <a:pt x="375" y="276"/>
                  <a:pt x="375" y="252"/>
                  <a:pt x="375" y="252"/>
                </a:cubicBezTo>
                <a:cubicBezTo>
                  <a:pt x="374" y="237"/>
                  <a:pt x="376" y="214"/>
                  <a:pt x="363" y="201"/>
                </a:cubicBezTo>
                <a:cubicBezTo>
                  <a:pt x="354" y="192"/>
                  <a:pt x="339" y="193"/>
                  <a:pt x="327" y="189"/>
                </a:cubicBezTo>
                <a:cubicBezTo>
                  <a:pt x="321" y="187"/>
                  <a:pt x="309" y="183"/>
                  <a:pt x="309" y="183"/>
                </a:cubicBezTo>
                <a:cubicBezTo>
                  <a:pt x="301" y="172"/>
                  <a:pt x="295" y="154"/>
                  <a:pt x="282" y="150"/>
                </a:cubicBezTo>
                <a:cubicBezTo>
                  <a:pt x="271" y="139"/>
                  <a:pt x="261" y="130"/>
                  <a:pt x="246" y="126"/>
                </a:cubicBezTo>
                <a:cubicBezTo>
                  <a:pt x="238" y="124"/>
                  <a:pt x="222" y="120"/>
                  <a:pt x="222" y="120"/>
                </a:cubicBezTo>
                <a:cubicBezTo>
                  <a:pt x="209" y="111"/>
                  <a:pt x="194" y="105"/>
                  <a:pt x="180" y="99"/>
                </a:cubicBezTo>
                <a:cubicBezTo>
                  <a:pt x="176" y="86"/>
                  <a:pt x="168" y="89"/>
                  <a:pt x="159" y="78"/>
                </a:cubicBezTo>
                <a:cubicBezTo>
                  <a:pt x="153" y="70"/>
                  <a:pt x="152" y="57"/>
                  <a:pt x="144" y="51"/>
                </a:cubicBezTo>
                <a:cubicBezTo>
                  <a:pt x="133" y="42"/>
                  <a:pt x="117" y="35"/>
                  <a:pt x="105" y="27"/>
                </a:cubicBezTo>
                <a:cubicBezTo>
                  <a:pt x="97" y="4"/>
                  <a:pt x="90" y="31"/>
                  <a:pt x="84" y="0"/>
                </a:cubicBezTo>
                <a:close/>
              </a:path>
            </a:pathLst>
          </a:custGeom>
          <a:solidFill>
            <a:srgbClr val="08205C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81" name="Freeform 85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6794448" y="2744316"/>
            <a:ext cx="156797" cy="63500"/>
          </a:xfrm>
          <a:custGeom>
            <a:avLst/>
            <a:gdLst>
              <a:gd name="T0" fmla="*/ 0 w 111"/>
              <a:gd name="T1" fmla="*/ 0 h 36"/>
              <a:gd name="T2" fmla="*/ 111 w 111"/>
              <a:gd name="T3" fmla="*/ 36 h 36"/>
              <a:gd name="T4" fmla="*/ 0 60000 65536"/>
              <a:gd name="T5" fmla="*/ 0 60000 65536"/>
              <a:gd name="T6" fmla="*/ 0 w 111"/>
              <a:gd name="T7" fmla="*/ 0 h 36"/>
              <a:gd name="T8" fmla="*/ 111 w 111"/>
              <a:gd name="T9" fmla="*/ 36 h 36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11" h="36">
                <a:moveTo>
                  <a:pt x="0" y="0"/>
                </a:moveTo>
                <a:cubicBezTo>
                  <a:pt x="29" y="19"/>
                  <a:pt x="76" y="36"/>
                  <a:pt x="111" y="36"/>
                </a:cubicBezTo>
              </a:path>
            </a:pathLst>
          </a:custGeom>
          <a:solidFill>
            <a:srgbClr val="08205C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82" name="Freeform 86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993131" y="2175995"/>
            <a:ext cx="95250" cy="233363"/>
          </a:xfrm>
          <a:custGeom>
            <a:avLst/>
            <a:gdLst>
              <a:gd name="T0" fmla="*/ 18 w 66"/>
              <a:gd name="T1" fmla="*/ 0 h 133"/>
              <a:gd name="T2" fmla="*/ 0 w 66"/>
              <a:gd name="T3" fmla="*/ 102 h 133"/>
              <a:gd name="T4" fmla="*/ 40 w 66"/>
              <a:gd name="T5" fmla="*/ 111 h 133"/>
              <a:gd name="T6" fmla="*/ 62 w 66"/>
              <a:gd name="T7" fmla="*/ 71 h 133"/>
              <a:gd name="T8" fmla="*/ 18 w 66"/>
              <a:gd name="T9" fmla="*/ 0 h 13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6"/>
              <a:gd name="T16" fmla="*/ 0 h 133"/>
              <a:gd name="T17" fmla="*/ 66 w 66"/>
              <a:gd name="T18" fmla="*/ 133 h 13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6" h="133">
                <a:moveTo>
                  <a:pt x="18" y="0"/>
                </a:moveTo>
                <a:cubicBezTo>
                  <a:pt x="12" y="35"/>
                  <a:pt x="13" y="69"/>
                  <a:pt x="0" y="102"/>
                </a:cubicBezTo>
                <a:cubicBezTo>
                  <a:pt x="9" y="133"/>
                  <a:pt x="14" y="121"/>
                  <a:pt x="40" y="111"/>
                </a:cubicBezTo>
                <a:cubicBezTo>
                  <a:pt x="46" y="95"/>
                  <a:pt x="57" y="87"/>
                  <a:pt x="62" y="71"/>
                </a:cubicBezTo>
                <a:cubicBezTo>
                  <a:pt x="58" y="12"/>
                  <a:pt x="66" y="16"/>
                  <a:pt x="18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83" name="Freeform 87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489038" y="3179291"/>
            <a:ext cx="158262" cy="71438"/>
          </a:xfrm>
          <a:custGeom>
            <a:avLst/>
            <a:gdLst>
              <a:gd name="T0" fmla="*/ 6 w 112"/>
              <a:gd name="T1" fmla="*/ 10 h 41"/>
              <a:gd name="T2" fmla="*/ 99 w 112"/>
              <a:gd name="T3" fmla="*/ 10 h 41"/>
              <a:gd name="T4" fmla="*/ 91 w 112"/>
              <a:gd name="T5" fmla="*/ 41 h 41"/>
              <a:gd name="T6" fmla="*/ 28 w 112"/>
              <a:gd name="T7" fmla="*/ 32 h 41"/>
              <a:gd name="T8" fmla="*/ 2 w 112"/>
              <a:gd name="T9" fmla="*/ 24 h 41"/>
              <a:gd name="T10" fmla="*/ 6 w 112"/>
              <a:gd name="T11" fmla="*/ 10 h 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2"/>
              <a:gd name="T19" fmla="*/ 0 h 41"/>
              <a:gd name="T20" fmla="*/ 112 w 112"/>
              <a:gd name="T21" fmla="*/ 41 h 4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2" h="41">
                <a:moveTo>
                  <a:pt x="6" y="10"/>
                </a:moveTo>
                <a:cubicBezTo>
                  <a:pt x="41" y="6"/>
                  <a:pt x="66" y="0"/>
                  <a:pt x="99" y="10"/>
                </a:cubicBezTo>
                <a:cubicBezTo>
                  <a:pt x="110" y="27"/>
                  <a:pt x="112" y="35"/>
                  <a:pt x="91" y="41"/>
                </a:cubicBezTo>
                <a:cubicBezTo>
                  <a:pt x="47" y="37"/>
                  <a:pt x="58" y="41"/>
                  <a:pt x="28" y="32"/>
                </a:cubicBezTo>
                <a:cubicBezTo>
                  <a:pt x="19" y="29"/>
                  <a:pt x="0" y="33"/>
                  <a:pt x="2" y="24"/>
                </a:cubicBezTo>
                <a:cubicBezTo>
                  <a:pt x="3" y="19"/>
                  <a:pt x="5" y="15"/>
                  <a:pt x="6" y="1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84" name="Freeform 88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534466" y="3276133"/>
            <a:ext cx="61546" cy="92075"/>
          </a:xfrm>
          <a:custGeom>
            <a:avLst/>
            <a:gdLst>
              <a:gd name="T0" fmla="*/ 19 w 44"/>
              <a:gd name="T1" fmla="*/ 0 h 53"/>
              <a:gd name="T2" fmla="*/ 41 w 44"/>
              <a:gd name="T3" fmla="*/ 44 h 53"/>
              <a:gd name="T4" fmla="*/ 19 w 44"/>
              <a:gd name="T5" fmla="*/ 0 h 53"/>
              <a:gd name="T6" fmla="*/ 0 60000 65536"/>
              <a:gd name="T7" fmla="*/ 0 60000 65536"/>
              <a:gd name="T8" fmla="*/ 0 60000 65536"/>
              <a:gd name="T9" fmla="*/ 0 w 44"/>
              <a:gd name="T10" fmla="*/ 0 h 53"/>
              <a:gd name="T11" fmla="*/ 44 w 44"/>
              <a:gd name="T12" fmla="*/ 53 h 5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4" h="53">
                <a:moveTo>
                  <a:pt x="19" y="0"/>
                </a:moveTo>
                <a:cubicBezTo>
                  <a:pt x="14" y="34"/>
                  <a:pt x="0" y="53"/>
                  <a:pt x="41" y="44"/>
                </a:cubicBezTo>
                <a:cubicBezTo>
                  <a:pt x="35" y="6"/>
                  <a:pt x="44" y="19"/>
                  <a:pt x="19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85" name="Freeform 89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2566815" y="2537941"/>
            <a:ext cx="477715" cy="793750"/>
          </a:xfrm>
          <a:custGeom>
            <a:avLst/>
            <a:gdLst>
              <a:gd name="T0" fmla="*/ 4 w 338"/>
              <a:gd name="T1" fmla="*/ 77 h 452"/>
              <a:gd name="T2" fmla="*/ 8 w 338"/>
              <a:gd name="T3" fmla="*/ 71 h 452"/>
              <a:gd name="T4" fmla="*/ 18 w 338"/>
              <a:gd name="T5" fmla="*/ 61 h 452"/>
              <a:gd name="T6" fmla="*/ 50 w 338"/>
              <a:gd name="T7" fmla="*/ 47 h 452"/>
              <a:gd name="T8" fmla="*/ 70 w 338"/>
              <a:gd name="T9" fmla="*/ 47 h 452"/>
              <a:gd name="T10" fmla="*/ 72 w 338"/>
              <a:gd name="T11" fmla="*/ 23 h 452"/>
              <a:gd name="T12" fmla="*/ 74 w 338"/>
              <a:gd name="T13" fmla="*/ 1 h 452"/>
              <a:gd name="T14" fmla="*/ 102 w 338"/>
              <a:gd name="T15" fmla="*/ 15 h 452"/>
              <a:gd name="T16" fmla="*/ 122 w 338"/>
              <a:gd name="T17" fmla="*/ 17 h 452"/>
              <a:gd name="T18" fmla="*/ 170 w 338"/>
              <a:gd name="T19" fmla="*/ 61 h 452"/>
              <a:gd name="T20" fmla="*/ 210 w 338"/>
              <a:gd name="T21" fmla="*/ 91 h 452"/>
              <a:gd name="T22" fmla="*/ 222 w 338"/>
              <a:gd name="T23" fmla="*/ 129 h 452"/>
              <a:gd name="T24" fmla="*/ 232 w 338"/>
              <a:gd name="T25" fmla="*/ 147 h 452"/>
              <a:gd name="T26" fmla="*/ 254 w 338"/>
              <a:gd name="T27" fmla="*/ 199 h 452"/>
              <a:gd name="T28" fmla="*/ 286 w 338"/>
              <a:gd name="T29" fmla="*/ 217 h 452"/>
              <a:gd name="T30" fmla="*/ 328 w 338"/>
              <a:gd name="T31" fmla="*/ 239 h 452"/>
              <a:gd name="T32" fmla="*/ 335 w 338"/>
              <a:gd name="T33" fmla="*/ 265 h 452"/>
              <a:gd name="T34" fmla="*/ 308 w 338"/>
              <a:gd name="T35" fmla="*/ 304 h 452"/>
              <a:gd name="T36" fmla="*/ 257 w 338"/>
              <a:gd name="T37" fmla="*/ 346 h 452"/>
              <a:gd name="T38" fmla="*/ 248 w 338"/>
              <a:gd name="T39" fmla="*/ 382 h 452"/>
              <a:gd name="T40" fmla="*/ 244 w 338"/>
              <a:gd name="T41" fmla="*/ 399 h 452"/>
              <a:gd name="T42" fmla="*/ 248 w 338"/>
              <a:gd name="T43" fmla="*/ 411 h 452"/>
              <a:gd name="T44" fmla="*/ 245 w 338"/>
              <a:gd name="T45" fmla="*/ 442 h 452"/>
              <a:gd name="T46" fmla="*/ 232 w 338"/>
              <a:gd name="T47" fmla="*/ 451 h 452"/>
              <a:gd name="T48" fmla="*/ 230 w 338"/>
              <a:gd name="T49" fmla="*/ 433 h 452"/>
              <a:gd name="T50" fmla="*/ 228 w 338"/>
              <a:gd name="T51" fmla="*/ 391 h 452"/>
              <a:gd name="T52" fmla="*/ 194 w 338"/>
              <a:gd name="T53" fmla="*/ 316 h 452"/>
              <a:gd name="T54" fmla="*/ 174 w 338"/>
              <a:gd name="T55" fmla="*/ 279 h 452"/>
              <a:gd name="T56" fmla="*/ 162 w 338"/>
              <a:gd name="T57" fmla="*/ 259 h 452"/>
              <a:gd name="T58" fmla="*/ 149 w 338"/>
              <a:gd name="T59" fmla="*/ 244 h 452"/>
              <a:gd name="T60" fmla="*/ 126 w 338"/>
              <a:gd name="T61" fmla="*/ 221 h 452"/>
              <a:gd name="T62" fmla="*/ 110 w 338"/>
              <a:gd name="T63" fmla="*/ 196 h 452"/>
              <a:gd name="T64" fmla="*/ 95 w 338"/>
              <a:gd name="T65" fmla="*/ 169 h 452"/>
              <a:gd name="T66" fmla="*/ 60 w 338"/>
              <a:gd name="T67" fmla="*/ 141 h 452"/>
              <a:gd name="T68" fmla="*/ 30 w 338"/>
              <a:gd name="T69" fmla="*/ 111 h 452"/>
              <a:gd name="T70" fmla="*/ 4 w 338"/>
              <a:gd name="T71" fmla="*/ 77 h 452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38"/>
              <a:gd name="T109" fmla="*/ 0 h 452"/>
              <a:gd name="T110" fmla="*/ 338 w 338"/>
              <a:gd name="T111" fmla="*/ 452 h 452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38" h="452">
                <a:moveTo>
                  <a:pt x="4" y="77"/>
                </a:moveTo>
                <a:cubicBezTo>
                  <a:pt x="0" y="71"/>
                  <a:pt x="6" y="74"/>
                  <a:pt x="8" y="71"/>
                </a:cubicBezTo>
                <a:cubicBezTo>
                  <a:pt x="10" y="68"/>
                  <a:pt x="11" y="65"/>
                  <a:pt x="18" y="61"/>
                </a:cubicBezTo>
                <a:cubicBezTo>
                  <a:pt x="24" y="55"/>
                  <a:pt x="41" y="49"/>
                  <a:pt x="50" y="47"/>
                </a:cubicBezTo>
                <a:cubicBezTo>
                  <a:pt x="59" y="45"/>
                  <a:pt x="66" y="51"/>
                  <a:pt x="70" y="47"/>
                </a:cubicBezTo>
                <a:cubicBezTo>
                  <a:pt x="74" y="43"/>
                  <a:pt x="71" y="31"/>
                  <a:pt x="72" y="23"/>
                </a:cubicBezTo>
                <a:cubicBezTo>
                  <a:pt x="73" y="15"/>
                  <a:pt x="69" y="2"/>
                  <a:pt x="74" y="1"/>
                </a:cubicBezTo>
                <a:cubicBezTo>
                  <a:pt x="79" y="0"/>
                  <a:pt x="94" y="12"/>
                  <a:pt x="102" y="15"/>
                </a:cubicBezTo>
                <a:cubicBezTo>
                  <a:pt x="110" y="18"/>
                  <a:pt x="111" y="9"/>
                  <a:pt x="122" y="17"/>
                </a:cubicBezTo>
                <a:cubicBezTo>
                  <a:pt x="133" y="25"/>
                  <a:pt x="155" y="49"/>
                  <a:pt x="170" y="61"/>
                </a:cubicBezTo>
                <a:cubicBezTo>
                  <a:pt x="212" y="85"/>
                  <a:pt x="189" y="79"/>
                  <a:pt x="210" y="91"/>
                </a:cubicBezTo>
                <a:cubicBezTo>
                  <a:pt x="220" y="101"/>
                  <a:pt x="218" y="121"/>
                  <a:pt x="222" y="129"/>
                </a:cubicBezTo>
                <a:cubicBezTo>
                  <a:pt x="226" y="138"/>
                  <a:pt x="227" y="135"/>
                  <a:pt x="232" y="147"/>
                </a:cubicBezTo>
                <a:cubicBezTo>
                  <a:pt x="232" y="192"/>
                  <a:pt x="243" y="173"/>
                  <a:pt x="254" y="199"/>
                </a:cubicBezTo>
                <a:cubicBezTo>
                  <a:pt x="261" y="211"/>
                  <a:pt x="276" y="212"/>
                  <a:pt x="286" y="217"/>
                </a:cubicBezTo>
                <a:cubicBezTo>
                  <a:pt x="298" y="224"/>
                  <a:pt x="316" y="237"/>
                  <a:pt x="328" y="239"/>
                </a:cubicBezTo>
                <a:cubicBezTo>
                  <a:pt x="336" y="248"/>
                  <a:pt x="338" y="254"/>
                  <a:pt x="335" y="265"/>
                </a:cubicBezTo>
                <a:cubicBezTo>
                  <a:pt x="332" y="276"/>
                  <a:pt x="321" y="291"/>
                  <a:pt x="308" y="304"/>
                </a:cubicBezTo>
                <a:cubicBezTo>
                  <a:pt x="291" y="319"/>
                  <a:pt x="266" y="333"/>
                  <a:pt x="257" y="346"/>
                </a:cubicBezTo>
                <a:cubicBezTo>
                  <a:pt x="247" y="359"/>
                  <a:pt x="250" y="373"/>
                  <a:pt x="248" y="382"/>
                </a:cubicBezTo>
                <a:cubicBezTo>
                  <a:pt x="246" y="391"/>
                  <a:pt x="244" y="394"/>
                  <a:pt x="244" y="399"/>
                </a:cubicBezTo>
                <a:cubicBezTo>
                  <a:pt x="244" y="404"/>
                  <a:pt x="248" y="404"/>
                  <a:pt x="248" y="411"/>
                </a:cubicBezTo>
                <a:cubicBezTo>
                  <a:pt x="245" y="429"/>
                  <a:pt x="245" y="442"/>
                  <a:pt x="245" y="442"/>
                </a:cubicBezTo>
                <a:cubicBezTo>
                  <a:pt x="242" y="449"/>
                  <a:pt x="234" y="452"/>
                  <a:pt x="232" y="451"/>
                </a:cubicBezTo>
                <a:cubicBezTo>
                  <a:pt x="230" y="450"/>
                  <a:pt x="231" y="443"/>
                  <a:pt x="230" y="433"/>
                </a:cubicBezTo>
                <a:cubicBezTo>
                  <a:pt x="229" y="423"/>
                  <a:pt x="234" y="410"/>
                  <a:pt x="228" y="391"/>
                </a:cubicBezTo>
                <a:cubicBezTo>
                  <a:pt x="219" y="370"/>
                  <a:pt x="203" y="335"/>
                  <a:pt x="194" y="316"/>
                </a:cubicBezTo>
                <a:cubicBezTo>
                  <a:pt x="185" y="297"/>
                  <a:pt x="179" y="289"/>
                  <a:pt x="174" y="279"/>
                </a:cubicBezTo>
                <a:cubicBezTo>
                  <a:pt x="169" y="269"/>
                  <a:pt x="166" y="265"/>
                  <a:pt x="162" y="259"/>
                </a:cubicBezTo>
                <a:cubicBezTo>
                  <a:pt x="158" y="253"/>
                  <a:pt x="155" y="250"/>
                  <a:pt x="149" y="244"/>
                </a:cubicBezTo>
                <a:cubicBezTo>
                  <a:pt x="140" y="237"/>
                  <a:pt x="133" y="229"/>
                  <a:pt x="126" y="221"/>
                </a:cubicBezTo>
                <a:cubicBezTo>
                  <a:pt x="119" y="213"/>
                  <a:pt x="115" y="205"/>
                  <a:pt x="110" y="196"/>
                </a:cubicBezTo>
                <a:cubicBezTo>
                  <a:pt x="105" y="189"/>
                  <a:pt x="103" y="176"/>
                  <a:pt x="95" y="169"/>
                </a:cubicBezTo>
                <a:cubicBezTo>
                  <a:pt x="87" y="160"/>
                  <a:pt x="71" y="151"/>
                  <a:pt x="60" y="141"/>
                </a:cubicBezTo>
                <a:cubicBezTo>
                  <a:pt x="50" y="130"/>
                  <a:pt x="39" y="122"/>
                  <a:pt x="30" y="111"/>
                </a:cubicBezTo>
                <a:cubicBezTo>
                  <a:pt x="21" y="100"/>
                  <a:pt x="10" y="84"/>
                  <a:pt x="4" y="77"/>
                </a:cubicBezTo>
                <a:close/>
              </a:path>
            </a:pathLst>
          </a:custGeom>
          <a:solidFill>
            <a:srgbClr val="08205C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86" name="Freeform 90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2927298" y="2920533"/>
            <a:ext cx="625719" cy="477837"/>
          </a:xfrm>
          <a:custGeom>
            <a:avLst/>
            <a:gdLst>
              <a:gd name="T0" fmla="*/ 0 w 444"/>
              <a:gd name="T1" fmla="*/ 172 h 272"/>
              <a:gd name="T2" fmla="*/ 8 w 444"/>
              <a:gd name="T3" fmla="*/ 135 h 272"/>
              <a:gd name="T4" fmla="*/ 50 w 444"/>
              <a:gd name="T5" fmla="*/ 103 h 272"/>
              <a:gd name="T6" fmla="*/ 80 w 444"/>
              <a:gd name="T7" fmla="*/ 69 h 272"/>
              <a:gd name="T8" fmla="*/ 90 w 444"/>
              <a:gd name="T9" fmla="*/ 53 h 272"/>
              <a:gd name="T10" fmla="*/ 142 w 444"/>
              <a:gd name="T11" fmla="*/ 27 h 272"/>
              <a:gd name="T12" fmla="*/ 248 w 444"/>
              <a:gd name="T13" fmla="*/ 13 h 272"/>
              <a:gd name="T14" fmla="*/ 299 w 444"/>
              <a:gd name="T15" fmla="*/ 2 h 272"/>
              <a:gd name="T16" fmla="*/ 310 w 444"/>
              <a:gd name="T17" fmla="*/ 3 h 272"/>
              <a:gd name="T18" fmla="*/ 321 w 444"/>
              <a:gd name="T19" fmla="*/ 16 h 272"/>
              <a:gd name="T20" fmla="*/ 344 w 444"/>
              <a:gd name="T21" fmla="*/ 22 h 272"/>
              <a:gd name="T22" fmla="*/ 368 w 444"/>
              <a:gd name="T23" fmla="*/ 27 h 272"/>
              <a:gd name="T24" fmla="*/ 404 w 444"/>
              <a:gd name="T25" fmla="*/ 39 h 272"/>
              <a:gd name="T26" fmla="*/ 434 w 444"/>
              <a:gd name="T27" fmla="*/ 56 h 272"/>
              <a:gd name="T28" fmla="*/ 436 w 444"/>
              <a:gd name="T29" fmla="*/ 81 h 272"/>
              <a:gd name="T30" fmla="*/ 436 w 444"/>
              <a:gd name="T31" fmla="*/ 113 h 272"/>
              <a:gd name="T32" fmla="*/ 435 w 444"/>
              <a:gd name="T33" fmla="*/ 145 h 272"/>
              <a:gd name="T34" fmla="*/ 420 w 444"/>
              <a:gd name="T35" fmla="*/ 133 h 272"/>
              <a:gd name="T36" fmla="*/ 398 w 444"/>
              <a:gd name="T37" fmla="*/ 145 h 272"/>
              <a:gd name="T38" fmla="*/ 381 w 444"/>
              <a:gd name="T39" fmla="*/ 169 h 272"/>
              <a:gd name="T40" fmla="*/ 350 w 444"/>
              <a:gd name="T41" fmla="*/ 175 h 272"/>
              <a:gd name="T42" fmla="*/ 300 w 444"/>
              <a:gd name="T43" fmla="*/ 185 h 272"/>
              <a:gd name="T44" fmla="*/ 256 w 444"/>
              <a:gd name="T45" fmla="*/ 189 h 272"/>
              <a:gd name="T46" fmla="*/ 246 w 444"/>
              <a:gd name="T47" fmla="*/ 187 h 272"/>
              <a:gd name="T48" fmla="*/ 198 w 444"/>
              <a:gd name="T49" fmla="*/ 199 h 272"/>
              <a:gd name="T50" fmla="*/ 174 w 444"/>
              <a:gd name="T51" fmla="*/ 221 h 272"/>
              <a:gd name="T52" fmla="*/ 152 w 444"/>
              <a:gd name="T53" fmla="*/ 245 h 272"/>
              <a:gd name="T54" fmla="*/ 132 w 444"/>
              <a:gd name="T55" fmla="*/ 272 h 272"/>
              <a:gd name="T56" fmla="*/ 92 w 444"/>
              <a:gd name="T57" fmla="*/ 241 h 272"/>
              <a:gd name="T58" fmla="*/ 34 w 444"/>
              <a:gd name="T59" fmla="*/ 219 h 272"/>
              <a:gd name="T60" fmla="*/ 18 w 444"/>
              <a:gd name="T61" fmla="*/ 209 h 272"/>
              <a:gd name="T62" fmla="*/ 5 w 444"/>
              <a:gd name="T63" fmla="*/ 203 h 272"/>
              <a:gd name="T64" fmla="*/ 0 w 444"/>
              <a:gd name="T65" fmla="*/ 172 h 272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44"/>
              <a:gd name="T100" fmla="*/ 0 h 272"/>
              <a:gd name="T101" fmla="*/ 444 w 444"/>
              <a:gd name="T102" fmla="*/ 272 h 272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44" h="272">
                <a:moveTo>
                  <a:pt x="0" y="172"/>
                </a:moveTo>
                <a:cubicBezTo>
                  <a:pt x="0" y="158"/>
                  <a:pt x="6" y="149"/>
                  <a:pt x="8" y="135"/>
                </a:cubicBezTo>
                <a:cubicBezTo>
                  <a:pt x="9" y="129"/>
                  <a:pt x="42" y="106"/>
                  <a:pt x="50" y="103"/>
                </a:cubicBezTo>
                <a:cubicBezTo>
                  <a:pt x="62" y="91"/>
                  <a:pt x="68" y="81"/>
                  <a:pt x="80" y="69"/>
                </a:cubicBezTo>
                <a:cubicBezTo>
                  <a:pt x="81" y="64"/>
                  <a:pt x="87" y="57"/>
                  <a:pt x="90" y="53"/>
                </a:cubicBezTo>
                <a:cubicBezTo>
                  <a:pt x="96" y="43"/>
                  <a:pt x="132" y="30"/>
                  <a:pt x="142" y="27"/>
                </a:cubicBezTo>
                <a:cubicBezTo>
                  <a:pt x="184" y="11"/>
                  <a:pt x="207" y="21"/>
                  <a:pt x="248" y="13"/>
                </a:cubicBezTo>
                <a:cubicBezTo>
                  <a:pt x="265" y="10"/>
                  <a:pt x="282" y="6"/>
                  <a:pt x="299" y="2"/>
                </a:cubicBezTo>
                <a:cubicBezTo>
                  <a:pt x="305" y="0"/>
                  <a:pt x="310" y="3"/>
                  <a:pt x="310" y="3"/>
                </a:cubicBezTo>
                <a:cubicBezTo>
                  <a:pt x="314" y="5"/>
                  <a:pt x="316" y="13"/>
                  <a:pt x="321" y="16"/>
                </a:cubicBezTo>
                <a:cubicBezTo>
                  <a:pt x="327" y="19"/>
                  <a:pt x="336" y="20"/>
                  <a:pt x="344" y="22"/>
                </a:cubicBezTo>
                <a:cubicBezTo>
                  <a:pt x="355" y="33"/>
                  <a:pt x="351" y="25"/>
                  <a:pt x="368" y="27"/>
                </a:cubicBezTo>
                <a:cubicBezTo>
                  <a:pt x="379" y="35"/>
                  <a:pt x="390" y="37"/>
                  <a:pt x="404" y="39"/>
                </a:cubicBezTo>
                <a:cubicBezTo>
                  <a:pt x="423" y="45"/>
                  <a:pt x="424" y="41"/>
                  <a:pt x="434" y="56"/>
                </a:cubicBezTo>
                <a:cubicBezTo>
                  <a:pt x="436" y="64"/>
                  <a:pt x="431" y="74"/>
                  <a:pt x="436" y="81"/>
                </a:cubicBezTo>
                <a:cubicBezTo>
                  <a:pt x="435" y="96"/>
                  <a:pt x="444" y="101"/>
                  <a:pt x="436" y="113"/>
                </a:cubicBezTo>
                <a:cubicBezTo>
                  <a:pt x="436" y="121"/>
                  <a:pt x="437" y="143"/>
                  <a:pt x="435" y="145"/>
                </a:cubicBezTo>
                <a:cubicBezTo>
                  <a:pt x="432" y="148"/>
                  <a:pt x="426" y="133"/>
                  <a:pt x="420" y="133"/>
                </a:cubicBezTo>
                <a:cubicBezTo>
                  <a:pt x="418" y="137"/>
                  <a:pt x="402" y="142"/>
                  <a:pt x="398" y="145"/>
                </a:cubicBezTo>
                <a:cubicBezTo>
                  <a:pt x="390" y="151"/>
                  <a:pt x="389" y="164"/>
                  <a:pt x="381" y="169"/>
                </a:cubicBezTo>
                <a:cubicBezTo>
                  <a:pt x="373" y="175"/>
                  <a:pt x="363" y="172"/>
                  <a:pt x="350" y="175"/>
                </a:cubicBezTo>
                <a:cubicBezTo>
                  <a:pt x="337" y="178"/>
                  <a:pt x="316" y="183"/>
                  <a:pt x="300" y="185"/>
                </a:cubicBezTo>
                <a:cubicBezTo>
                  <a:pt x="280" y="189"/>
                  <a:pt x="265" y="189"/>
                  <a:pt x="256" y="189"/>
                </a:cubicBezTo>
                <a:cubicBezTo>
                  <a:pt x="247" y="189"/>
                  <a:pt x="256" y="185"/>
                  <a:pt x="246" y="187"/>
                </a:cubicBezTo>
                <a:cubicBezTo>
                  <a:pt x="228" y="190"/>
                  <a:pt x="215" y="195"/>
                  <a:pt x="198" y="199"/>
                </a:cubicBezTo>
                <a:cubicBezTo>
                  <a:pt x="189" y="205"/>
                  <a:pt x="184" y="218"/>
                  <a:pt x="174" y="221"/>
                </a:cubicBezTo>
                <a:cubicBezTo>
                  <a:pt x="165" y="230"/>
                  <a:pt x="159" y="236"/>
                  <a:pt x="152" y="245"/>
                </a:cubicBezTo>
                <a:cubicBezTo>
                  <a:pt x="146" y="253"/>
                  <a:pt x="138" y="263"/>
                  <a:pt x="132" y="272"/>
                </a:cubicBezTo>
                <a:cubicBezTo>
                  <a:pt x="116" y="269"/>
                  <a:pt x="110" y="245"/>
                  <a:pt x="92" y="241"/>
                </a:cubicBezTo>
                <a:cubicBezTo>
                  <a:pt x="79" y="222"/>
                  <a:pt x="51" y="231"/>
                  <a:pt x="34" y="219"/>
                </a:cubicBezTo>
                <a:cubicBezTo>
                  <a:pt x="22" y="214"/>
                  <a:pt x="23" y="212"/>
                  <a:pt x="18" y="209"/>
                </a:cubicBezTo>
                <a:cubicBezTo>
                  <a:pt x="13" y="206"/>
                  <a:pt x="8" y="209"/>
                  <a:pt x="5" y="203"/>
                </a:cubicBezTo>
                <a:cubicBezTo>
                  <a:pt x="0" y="196"/>
                  <a:pt x="0" y="183"/>
                  <a:pt x="0" y="172"/>
                </a:cubicBezTo>
                <a:close/>
              </a:path>
            </a:pathLst>
          </a:custGeom>
          <a:solidFill>
            <a:srgbClr val="8EB4E3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87" name="Freeform 91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120730" y="3161832"/>
            <a:ext cx="712177" cy="663575"/>
          </a:xfrm>
          <a:custGeom>
            <a:avLst/>
            <a:gdLst>
              <a:gd name="T0" fmla="*/ 0 w 503"/>
              <a:gd name="T1" fmla="*/ 137 h 378"/>
              <a:gd name="T2" fmla="*/ 36 w 503"/>
              <a:gd name="T3" fmla="*/ 111 h 378"/>
              <a:gd name="T4" fmla="*/ 74 w 503"/>
              <a:gd name="T5" fmla="*/ 72 h 378"/>
              <a:gd name="T6" fmla="*/ 102 w 503"/>
              <a:gd name="T7" fmla="*/ 71 h 378"/>
              <a:gd name="T8" fmla="*/ 135 w 503"/>
              <a:gd name="T9" fmla="*/ 65 h 378"/>
              <a:gd name="T10" fmla="*/ 173 w 503"/>
              <a:gd name="T11" fmla="*/ 53 h 378"/>
              <a:gd name="T12" fmla="*/ 197 w 503"/>
              <a:gd name="T13" fmla="*/ 53 h 378"/>
              <a:gd name="T14" fmla="*/ 234 w 503"/>
              <a:gd name="T15" fmla="*/ 42 h 378"/>
              <a:gd name="T16" fmla="*/ 257 w 503"/>
              <a:gd name="T17" fmla="*/ 29 h 378"/>
              <a:gd name="T18" fmla="*/ 272 w 503"/>
              <a:gd name="T19" fmla="*/ 15 h 378"/>
              <a:gd name="T20" fmla="*/ 288 w 503"/>
              <a:gd name="T21" fmla="*/ 0 h 378"/>
              <a:gd name="T22" fmla="*/ 299 w 503"/>
              <a:gd name="T23" fmla="*/ 15 h 378"/>
              <a:gd name="T24" fmla="*/ 329 w 503"/>
              <a:gd name="T25" fmla="*/ 39 h 378"/>
              <a:gd name="T26" fmla="*/ 347 w 503"/>
              <a:gd name="T27" fmla="*/ 47 h 378"/>
              <a:gd name="T28" fmla="*/ 341 w 503"/>
              <a:gd name="T29" fmla="*/ 69 h 378"/>
              <a:gd name="T30" fmla="*/ 321 w 503"/>
              <a:gd name="T31" fmla="*/ 92 h 378"/>
              <a:gd name="T32" fmla="*/ 308 w 503"/>
              <a:gd name="T33" fmla="*/ 105 h 378"/>
              <a:gd name="T34" fmla="*/ 312 w 503"/>
              <a:gd name="T35" fmla="*/ 131 h 378"/>
              <a:gd name="T36" fmla="*/ 341 w 503"/>
              <a:gd name="T37" fmla="*/ 116 h 378"/>
              <a:gd name="T38" fmla="*/ 390 w 503"/>
              <a:gd name="T39" fmla="*/ 99 h 378"/>
              <a:gd name="T40" fmla="*/ 438 w 503"/>
              <a:gd name="T41" fmla="*/ 113 h 378"/>
              <a:gd name="T42" fmla="*/ 465 w 503"/>
              <a:gd name="T43" fmla="*/ 128 h 378"/>
              <a:gd name="T44" fmla="*/ 488 w 503"/>
              <a:gd name="T45" fmla="*/ 147 h 378"/>
              <a:gd name="T46" fmla="*/ 497 w 503"/>
              <a:gd name="T47" fmla="*/ 171 h 378"/>
              <a:gd name="T48" fmla="*/ 498 w 503"/>
              <a:gd name="T49" fmla="*/ 204 h 378"/>
              <a:gd name="T50" fmla="*/ 503 w 503"/>
              <a:gd name="T51" fmla="*/ 227 h 378"/>
              <a:gd name="T52" fmla="*/ 500 w 503"/>
              <a:gd name="T53" fmla="*/ 261 h 378"/>
              <a:gd name="T54" fmla="*/ 495 w 503"/>
              <a:gd name="T55" fmla="*/ 296 h 378"/>
              <a:gd name="T56" fmla="*/ 479 w 503"/>
              <a:gd name="T57" fmla="*/ 287 h 378"/>
              <a:gd name="T58" fmla="*/ 450 w 503"/>
              <a:gd name="T59" fmla="*/ 284 h 378"/>
              <a:gd name="T60" fmla="*/ 392 w 503"/>
              <a:gd name="T61" fmla="*/ 279 h 378"/>
              <a:gd name="T62" fmla="*/ 369 w 503"/>
              <a:gd name="T63" fmla="*/ 285 h 378"/>
              <a:gd name="T64" fmla="*/ 339 w 503"/>
              <a:gd name="T65" fmla="*/ 300 h 378"/>
              <a:gd name="T66" fmla="*/ 309 w 503"/>
              <a:gd name="T67" fmla="*/ 318 h 378"/>
              <a:gd name="T68" fmla="*/ 288 w 503"/>
              <a:gd name="T69" fmla="*/ 335 h 378"/>
              <a:gd name="T70" fmla="*/ 276 w 503"/>
              <a:gd name="T71" fmla="*/ 353 h 378"/>
              <a:gd name="T72" fmla="*/ 252 w 503"/>
              <a:gd name="T73" fmla="*/ 366 h 378"/>
              <a:gd name="T74" fmla="*/ 231 w 503"/>
              <a:gd name="T75" fmla="*/ 372 h 378"/>
              <a:gd name="T76" fmla="*/ 200 w 503"/>
              <a:gd name="T77" fmla="*/ 374 h 378"/>
              <a:gd name="T78" fmla="*/ 192 w 503"/>
              <a:gd name="T79" fmla="*/ 350 h 378"/>
              <a:gd name="T80" fmla="*/ 168 w 503"/>
              <a:gd name="T81" fmla="*/ 326 h 378"/>
              <a:gd name="T82" fmla="*/ 137 w 503"/>
              <a:gd name="T83" fmla="*/ 302 h 378"/>
              <a:gd name="T84" fmla="*/ 116 w 503"/>
              <a:gd name="T85" fmla="*/ 273 h 378"/>
              <a:gd name="T86" fmla="*/ 98 w 503"/>
              <a:gd name="T87" fmla="*/ 251 h 378"/>
              <a:gd name="T88" fmla="*/ 92 w 503"/>
              <a:gd name="T89" fmla="*/ 230 h 378"/>
              <a:gd name="T90" fmla="*/ 75 w 503"/>
              <a:gd name="T91" fmla="*/ 215 h 378"/>
              <a:gd name="T92" fmla="*/ 62 w 503"/>
              <a:gd name="T93" fmla="*/ 198 h 378"/>
              <a:gd name="T94" fmla="*/ 48 w 503"/>
              <a:gd name="T95" fmla="*/ 180 h 378"/>
              <a:gd name="T96" fmla="*/ 23 w 503"/>
              <a:gd name="T97" fmla="*/ 156 h 378"/>
              <a:gd name="T98" fmla="*/ 0 w 503"/>
              <a:gd name="T99" fmla="*/ 137 h 378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503"/>
              <a:gd name="T151" fmla="*/ 0 h 378"/>
              <a:gd name="T152" fmla="*/ 503 w 503"/>
              <a:gd name="T153" fmla="*/ 378 h 378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503" h="378">
                <a:moveTo>
                  <a:pt x="0" y="137"/>
                </a:moveTo>
                <a:cubicBezTo>
                  <a:pt x="13" y="129"/>
                  <a:pt x="23" y="118"/>
                  <a:pt x="36" y="111"/>
                </a:cubicBezTo>
                <a:cubicBezTo>
                  <a:pt x="46" y="99"/>
                  <a:pt x="54" y="74"/>
                  <a:pt x="74" y="72"/>
                </a:cubicBezTo>
                <a:cubicBezTo>
                  <a:pt x="83" y="71"/>
                  <a:pt x="93" y="71"/>
                  <a:pt x="102" y="71"/>
                </a:cubicBezTo>
                <a:cubicBezTo>
                  <a:pt x="114" y="69"/>
                  <a:pt x="124" y="66"/>
                  <a:pt x="135" y="65"/>
                </a:cubicBezTo>
                <a:cubicBezTo>
                  <a:pt x="148" y="61"/>
                  <a:pt x="159" y="55"/>
                  <a:pt x="173" y="53"/>
                </a:cubicBezTo>
                <a:cubicBezTo>
                  <a:pt x="181" y="50"/>
                  <a:pt x="189" y="54"/>
                  <a:pt x="197" y="53"/>
                </a:cubicBezTo>
                <a:cubicBezTo>
                  <a:pt x="208" y="49"/>
                  <a:pt x="222" y="44"/>
                  <a:pt x="234" y="42"/>
                </a:cubicBezTo>
                <a:cubicBezTo>
                  <a:pt x="242" y="38"/>
                  <a:pt x="249" y="31"/>
                  <a:pt x="257" y="29"/>
                </a:cubicBezTo>
                <a:cubicBezTo>
                  <a:pt x="262" y="26"/>
                  <a:pt x="267" y="18"/>
                  <a:pt x="272" y="15"/>
                </a:cubicBezTo>
                <a:cubicBezTo>
                  <a:pt x="277" y="12"/>
                  <a:pt x="284" y="0"/>
                  <a:pt x="288" y="0"/>
                </a:cubicBezTo>
                <a:cubicBezTo>
                  <a:pt x="292" y="0"/>
                  <a:pt x="292" y="8"/>
                  <a:pt x="299" y="15"/>
                </a:cubicBezTo>
                <a:cubicBezTo>
                  <a:pt x="306" y="27"/>
                  <a:pt x="314" y="36"/>
                  <a:pt x="329" y="39"/>
                </a:cubicBezTo>
                <a:cubicBezTo>
                  <a:pt x="334" y="41"/>
                  <a:pt x="343" y="44"/>
                  <a:pt x="347" y="47"/>
                </a:cubicBezTo>
                <a:cubicBezTo>
                  <a:pt x="348" y="52"/>
                  <a:pt x="345" y="62"/>
                  <a:pt x="341" y="69"/>
                </a:cubicBezTo>
                <a:cubicBezTo>
                  <a:pt x="337" y="76"/>
                  <a:pt x="326" y="86"/>
                  <a:pt x="321" y="92"/>
                </a:cubicBezTo>
                <a:cubicBezTo>
                  <a:pt x="317" y="99"/>
                  <a:pt x="311" y="97"/>
                  <a:pt x="308" y="105"/>
                </a:cubicBezTo>
                <a:cubicBezTo>
                  <a:pt x="310" y="120"/>
                  <a:pt x="296" y="128"/>
                  <a:pt x="312" y="131"/>
                </a:cubicBezTo>
                <a:cubicBezTo>
                  <a:pt x="330" y="130"/>
                  <a:pt x="329" y="125"/>
                  <a:pt x="341" y="116"/>
                </a:cubicBezTo>
                <a:cubicBezTo>
                  <a:pt x="355" y="106"/>
                  <a:pt x="373" y="100"/>
                  <a:pt x="390" y="99"/>
                </a:cubicBezTo>
                <a:cubicBezTo>
                  <a:pt x="419" y="100"/>
                  <a:pt x="422" y="104"/>
                  <a:pt x="438" y="113"/>
                </a:cubicBezTo>
                <a:cubicBezTo>
                  <a:pt x="446" y="118"/>
                  <a:pt x="458" y="122"/>
                  <a:pt x="465" y="128"/>
                </a:cubicBezTo>
                <a:cubicBezTo>
                  <a:pt x="473" y="134"/>
                  <a:pt x="482" y="140"/>
                  <a:pt x="488" y="147"/>
                </a:cubicBezTo>
                <a:cubicBezTo>
                  <a:pt x="488" y="154"/>
                  <a:pt x="493" y="163"/>
                  <a:pt x="497" y="171"/>
                </a:cubicBezTo>
                <a:cubicBezTo>
                  <a:pt x="500" y="177"/>
                  <a:pt x="498" y="204"/>
                  <a:pt x="498" y="204"/>
                </a:cubicBezTo>
                <a:cubicBezTo>
                  <a:pt x="500" y="211"/>
                  <a:pt x="503" y="218"/>
                  <a:pt x="503" y="227"/>
                </a:cubicBezTo>
                <a:cubicBezTo>
                  <a:pt x="503" y="236"/>
                  <a:pt x="501" y="250"/>
                  <a:pt x="500" y="261"/>
                </a:cubicBezTo>
                <a:cubicBezTo>
                  <a:pt x="499" y="272"/>
                  <a:pt x="498" y="292"/>
                  <a:pt x="495" y="296"/>
                </a:cubicBezTo>
                <a:cubicBezTo>
                  <a:pt x="492" y="300"/>
                  <a:pt x="486" y="289"/>
                  <a:pt x="479" y="287"/>
                </a:cubicBezTo>
                <a:cubicBezTo>
                  <a:pt x="472" y="285"/>
                  <a:pt x="464" y="285"/>
                  <a:pt x="450" y="284"/>
                </a:cubicBezTo>
                <a:cubicBezTo>
                  <a:pt x="432" y="279"/>
                  <a:pt x="411" y="278"/>
                  <a:pt x="392" y="279"/>
                </a:cubicBezTo>
                <a:cubicBezTo>
                  <a:pt x="385" y="281"/>
                  <a:pt x="377" y="284"/>
                  <a:pt x="369" y="285"/>
                </a:cubicBezTo>
                <a:cubicBezTo>
                  <a:pt x="359" y="290"/>
                  <a:pt x="350" y="298"/>
                  <a:pt x="339" y="300"/>
                </a:cubicBezTo>
                <a:cubicBezTo>
                  <a:pt x="329" y="305"/>
                  <a:pt x="318" y="312"/>
                  <a:pt x="309" y="318"/>
                </a:cubicBezTo>
                <a:cubicBezTo>
                  <a:pt x="300" y="324"/>
                  <a:pt x="293" y="329"/>
                  <a:pt x="288" y="335"/>
                </a:cubicBezTo>
                <a:cubicBezTo>
                  <a:pt x="284" y="340"/>
                  <a:pt x="280" y="348"/>
                  <a:pt x="276" y="353"/>
                </a:cubicBezTo>
                <a:cubicBezTo>
                  <a:pt x="274" y="363"/>
                  <a:pt x="260" y="363"/>
                  <a:pt x="252" y="366"/>
                </a:cubicBezTo>
                <a:cubicBezTo>
                  <a:pt x="247" y="370"/>
                  <a:pt x="237" y="370"/>
                  <a:pt x="231" y="372"/>
                </a:cubicBezTo>
                <a:cubicBezTo>
                  <a:pt x="225" y="372"/>
                  <a:pt x="206" y="378"/>
                  <a:pt x="200" y="374"/>
                </a:cubicBezTo>
                <a:cubicBezTo>
                  <a:pt x="194" y="370"/>
                  <a:pt x="197" y="358"/>
                  <a:pt x="192" y="350"/>
                </a:cubicBezTo>
                <a:cubicBezTo>
                  <a:pt x="184" y="348"/>
                  <a:pt x="180" y="333"/>
                  <a:pt x="168" y="326"/>
                </a:cubicBezTo>
                <a:cubicBezTo>
                  <a:pt x="162" y="314"/>
                  <a:pt x="149" y="308"/>
                  <a:pt x="137" y="302"/>
                </a:cubicBezTo>
                <a:cubicBezTo>
                  <a:pt x="127" y="289"/>
                  <a:pt x="129" y="283"/>
                  <a:pt x="116" y="273"/>
                </a:cubicBezTo>
                <a:cubicBezTo>
                  <a:pt x="112" y="266"/>
                  <a:pt x="101" y="258"/>
                  <a:pt x="98" y="251"/>
                </a:cubicBezTo>
                <a:cubicBezTo>
                  <a:pt x="96" y="247"/>
                  <a:pt x="92" y="230"/>
                  <a:pt x="92" y="230"/>
                </a:cubicBezTo>
                <a:cubicBezTo>
                  <a:pt x="91" y="222"/>
                  <a:pt x="81" y="220"/>
                  <a:pt x="75" y="215"/>
                </a:cubicBezTo>
                <a:cubicBezTo>
                  <a:pt x="67" y="201"/>
                  <a:pt x="75" y="206"/>
                  <a:pt x="62" y="198"/>
                </a:cubicBezTo>
                <a:cubicBezTo>
                  <a:pt x="58" y="192"/>
                  <a:pt x="54" y="187"/>
                  <a:pt x="48" y="180"/>
                </a:cubicBezTo>
                <a:cubicBezTo>
                  <a:pt x="42" y="173"/>
                  <a:pt x="31" y="163"/>
                  <a:pt x="23" y="156"/>
                </a:cubicBezTo>
                <a:cubicBezTo>
                  <a:pt x="17" y="153"/>
                  <a:pt x="6" y="139"/>
                  <a:pt x="0" y="137"/>
                </a:cubicBezTo>
                <a:close/>
              </a:path>
            </a:pathLst>
          </a:custGeom>
          <a:solidFill>
            <a:srgbClr val="08205C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88" name="Freeform 92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3116331" y="3158658"/>
            <a:ext cx="427892" cy="255587"/>
          </a:xfrm>
          <a:custGeom>
            <a:avLst/>
            <a:gdLst>
              <a:gd name="T0" fmla="*/ 0 w 304"/>
              <a:gd name="T1" fmla="*/ 146 h 146"/>
              <a:gd name="T2" fmla="*/ 79 w 304"/>
              <a:gd name="T3" fmla="*/ 67 h 146"/>
              <a:gd name="T4" fmla="*/ 165 w 304"/>
              <a:gd name="T5" fmla="*/ 58 h 146"/>
              <a:gd name="T6" fmla="*/ 251 w 304"/>
              <a:gd name="T7" fmla="*/ 36 h 146"/>
              <a:gd name="T8" fmla="*/ 304 w 304"/>
              <a:gd name="T9" fmla="*/ 0 h 14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04"/>
              <a:gd name="T16" fmla="*/ 0 h 146"/>
              <a:gd name="T17" fmla="*/ 304 w 304"/>
              <a:gd name="T18" fmla="*/ 146 h 14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04" h="146">
                <a:moveTo>
                  <a:pt x="0" y="146"/>
                </a:moveTo>
                <a:cubicBezTo>
                  <a:pt x="7" y="121"/>
                  <a:pt x="53" y="79"/>
                  <a:pt x="79" y="67"/>
                </a:cubicBezTo>
                <a:cubicBezTo>
                  <a:pt x="104" y="54"/>
                  <a:pt x="137" y="60"/>
                  <a:pt x="165" y="58"/>
                </a:cubicBezTo>
                <a:cubicBezTo>
                  <a:pt x="194" y="47"/>
                  <a:pt x="221" y="42"/>
                  <a:pt x="251" y="36"/>
                </a:cubicBezTo>
                <a:cubicBezTo>
                  <a:pt x="273" y="15"/>
                  <a:pt x="275" y="12"/>
                  <a:pt x="304" y="0"/>
                </a:cubicBezTo>
              </a:path>
            </a:pathLst>
          </a:custGeom>
          <a:solidFill>
            <a:srgbClr val="08205C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89" name="Freeform 93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2559487" y="2168058"/>
            <a:ext cx="232997" cy="498475"/>
          </a:xfrm>
          <a:custGeom>
            <a:avLst/>
            <a:gdLst>
              <a:gd name="T0" fmla="*/ 151 w 165"/>
              <a:gd name="T1" fmla="*/ 0 h 276"/>
              <a:gd name="T2" fmla="*/ 165 w 165"/>
              <a:gd name="T3" fmla="*/ 67 h 276"/>
              <a:gd name="T4" fmla="*/ 138 w 165"/>
              <a:gd name="T5" fmla="*/ 134 h 276"/>
              <a:gd name="T6" fmla="*/ 125 w 165"/>
              <a:gd name="T7" fmla="*/ 218 h 276"/>
              <a:gd name="T8" fmla="*/ 102 w 165"/>
              <a:gd name="T9" fmla="*/ 214 h 276"/>
              <a:gd name="T10" fmla="*/ 76 w 165"/>
              <a:gd name="T11" fmla="*/ 205 h 276"/>
              <a:gd name="T12" fmla="*/ 54 w 165"/>
              <a:gd name="T13" fmla="*/ 245 h 276"/>
              <a:gd name="T14" fmla="*/ 14 w 165"/>
              <a:gd name="T15" fmla="*/ 267 h 276"/>
              <a:gd name="T16" fmla="*/ 0 w 165"/>
              <a:gd name="T17" fmla="*/ 276 h 27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65"/>
              <a:gd name="T28" fmla="*/ 0 h 276"/>
              <a:gd name="T29" fmla="*/ 165 w 165"/>
              <a:gd name="T30" fmla="*/ 276 h 27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65" h="276">
                <a:moveTo>
                  <a:pt x="151" y="0"/>
                </a:moveTo>
                <a:cubicBezTo>
                  <a:pt x="156" y="22"/>
                  <a:pt x="160" y="45"/>
                  <a:pt x="165" y="67"/>
                </a:cubicBezTo>
                <a:cubicBezTo>
                  <a:pt x="156" y="90"/>
                  <a:pt x="151" y="113"/>
                  <a:pt x="138" y="134"/>
                </a:cubicBezTo>
                <a:cubicBezTo>
                  <a:pt x="128" y="167"/>
                  <a:pt x="128" y="174"/>
                  <a:pt x="125" y="218"/>
                </a:cubicBezTo>
                <a:cubicBezTo>
                  <a:pt x="117" y="217"/>
                  <a:pt x="109" y="217"/>
                  <a:pt x="102" y="214"/>
                </a:cubicBezTo>
                <a:cubicBezTo>
                  <a:pt x="75" y="201"/>
                  <a:pt x="103" y="195"/>
                  <a:pt x="76" y="205"/>
                </a:cubicBezTo>
                <a:cubicBezTo>
                  <a:pt x="68" y="226"/>
                  <a:pt x="84" y="265"/>
                  <a:pt x="54" y="245"/>
                </a:cubicBezTo>
                <a:cubicBezTo>
                  <a:pt x="37" y="250"/>
                  <a:pt x="31" y="262"/>
                  <a:pt x="14" y="267"/>
                </a:cubicBezTo>
                <a:cubicBezTo>
                  <a:pt x="9" y="270"/>
                  <a:pt x="0" y="276"/>
                  <a:pt x="0" y="276"/>
                </a:cubicBezTo>
              </a:path>
            </a:pathLst>
          </a:custGeom>
          <a:solidFill>
            <a:srgbClr val="08205C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90" name="Freeform 94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3696625" y="4149254"/>
            <a:ext cx="269631" cy="252412"/>
          </a:xfrm>
          <a:custGeom>
            <a:avLst/>
            <a:gdLst>
              <a:gd name="T0" fmla="*/ 6 w 190"/>
              <a:gd name="T1" fmla="*/ 102 h 143"/>
              <a:gd name="T2" fmla="*/ 53 w 190"/>
              <a:gd name="T3" fmla="*/ 93 h 143"/>
              <a:gd name="T4" fmla="*/ 62 w 190"/>
              <a:gd name="T5" fmla="*/ 72 h 143"/>
              <a:gd name="T6" fmla="*/ 116 w 190"/>
              <a:gd name="T7" fmla="*/ 0 h 143"/>
              <a:gd name="T8" fmla="*/ 152 w 190"/>
              <a:gd name="T9" fmla="*/ 3 h 143"/>
              <a:gd name="T10" fmla="*/ 152 w 190"/>
              <a:gd name="T11" fmla="*/ 81 h 143"/>
              <a:gd name="T12" fmla="*/ 153 w 190"/>
              <a:gd name="T13" fmla="*/ 88 h 143"/>
              <a:gd name="T14" fmla="*/ 188 w 190"/>
              <a:gd name="T15" fmla="*/ 82 h 143"/>
              <a:gd name="T16" fmla="*/ 179 w 190"/>
              <a:gd name="T17" fmla="*/ 112 h 143"/>
              <a:gd name="T18" fmla="*/ 150 w 190"/>
              <a:gd name="T19" fmla="*/ 135 h 143"/>
              <a:gd name="T20" fmla="*/ 128 w 190"/>
              <a:gd name="T21" fmla="*/ 126 h 143"/>
              <a:gd name="T22" fmla="*/ 75 w 190"/>
              <a:gd name="T23" fmla="*/ 126 h 143"/>
              <a:gd name="T24" fmla="*/ 51 w 190"/>
              <a:gd name="T25" fmla="*/ 138 h 143"/>
              <a:gd name="T26" fmla="*/ 24 w 190"/>
              <a:gd name="T27" fmla="*/ 136 h 143"/>
              <a:gd name="T28" fmla="*/ 5 w 190"/>
              <a:gd name="T29" fmla="*/ 135 h 143"/>
              <a:gd name="T30" fmla="*/ 6 w 190"/>
              <a:gd name="T31" fmla="*/ 102 h 1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0"/>
              <a:gd name="T49" fmla="*/ 0 h 143"/>
              <a:gd name="T50" fmla="*/ 190 w 190"/>
              <a:gd name="T51" fmla="*/ 143 h 14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0" h="143">
                <a:moveTo>
                  <a:pt x="6" y="102"/>
                </a:moveTo>
                <a:cubicBezTo>
                  <a:pt x="34" y="100"/>
                  <a:pt x="35" y="104"/>
                  <a:pt x="53" y="93"/>
                </a:cubicBezTo>
                <a:cubicBezTo>
                  <a:pt x="59" y="86"/>
                  <a:pt x="59" y="80"/>
                  <a:pt x="62" y="72"/>
                </a:cubicBezTo>
                <a:cubicBezTo>
                  <a:pt x="64" y="48"/>
                  <a:pt x="91" y="5"/>
                  <a:pt x="116" y="0"/>
                </a:cubicBezTo>
                <a:cubicBezTo>
                  <a:pt x="125" y="1"/>
                  <a:pt x="152" y="3"/>
                  <a:pt x="152" y="3"/>
                </a:cubicBezTo>
                <a:cubicBezTo>
                  <a:pt x="161" y="18"/>
                  <a:pt x="151" y="64"/>
                  <a:pt x="152" y="81"/>
                </a:cubicBezTo>
                <a:cubicBezTo>
                  <a:pt x="152" y="83"/>
                  <a:pt x="151" y="87"/>
                  <a:pt x="153" y="88"/>
                </a:cubicBezTo>
                <a:cubicBezTo>
                  <a:pt x="162" y="91"/>
                  <a:pt x="178" y="81"/>
                  <a:pt x="188" y="82"/>
                </a:cubicBezTo>
                <a:cubicBezTo>
                  <a:pt x="186" y="95"/>
                  <a:pt x="190" y="105"/>
                  <a:pt x="179" y="112"/>
                </a:cubicBezTo>
                <a:cubicBezTo>
                  <a:pt x="174" y="120"/>
                  <a:pt x="160" y="133"/>
                  <a:pt x="150" y="135"/>
                </a:cubicBezTo>
                <a:cubicBezTo>
                  <a:pt x="141" y="134"/>
                  <a:pt x="137" y="131"/>
                  <a:pt x="128" y="126"/>
                </a:cubicBezTo>
                <a:cubicBezTo>
                  <a:pt x="95" y="127"/>
                  <a:pt x="99" y="122"/>
                  <a:pt x="75" y="126"/>
                </a:cubicBezTo>
                <a:cubicBezTo>
                  <a:pt x="70" y="130"/>
                  <a:pt x="58" y="137"/>
                  <a:pt x="51" y="138"/>
                </a:cubicBezTo>
                <a:cubicBezTo>
                  <a:pt x="45" y="143"/>
                  <a:pt x="33" y="135"/>
                  <a:pt x="24" y="136"/>
                </a:cubicBezTo>
                <a:cubicBezTo>
                  <a:pt x="18" y="136"/>
                  <a:pt x="6" y="141"/>
                  <a:pt x="5" y="135"/>
                </a:cubicBezTo>
                <a:cubicBezTo>
                  <a:pt x="0" y="102"/>
                  <a:pt x="18" y="102"/>
                  <a:pt x="6" y="102"/>
                </a:cubicBezTo>
                <a:close/>
              </a:path>
            </a:pathLst>
          </a:custGeom>
          <a:solidFill>
            <a:srgbClr val="08205C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91" name="Freeform 95"/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6640583" y="2552229"/>
            <a:ext cx="465992" cy="190500"/>
          </a:xfrm>
          <a:custGeom>
            <a:avLst/>
            <a:gdLst>
              <a:gd name="T0" fmla="*/ 279 w 331"/>
              <a:gd name="T1" fmla="*/ 22 h 108"/>
              <a:gd name="T2" fmla="*/ 160 w 331"/>
              <a:gd name="T3" fmla="*/ 19 h 108"/>
              <a:gd name="T4" fmla="*/ 139 w 331"/>
              <a:gd name="T5" fmla="*/ 13 h 108"/>
              <a:gd name="T6" fmla="*/ 124 w 331"/>
              <a:gd name="T7" fmla="*/ 7 h 108"/>
              <a:gd name="T8" fmla="*/ 100 w 331"/>
              <a:gd name="T9" fmla="*/ 1 h 108"/>
              <a:gd name="T10" fmla="*/ 39 w 331"/>
              <a:gd name="T11" fmla="*/ 14 h 108"/>
              <a:gd name="T12" fmla="*/ 19 w 331"/>
              <a:gd name="T13" fmla="*/ 22 h 108"/>
              <a:gd name="T14" fmla="*/ 7 w 331"/>
              <a:gd name="T15" fmla="*/ 41 h 108"/>
              <a:gd name="T16" fmla="*/ 1 w 331"/>
              <a:gd name="T17" fmla="*/ 65 h 108"/>
              <a:gd name="T18" fmla="*/ 0 w 331"/>
              <a:gd name="T19" fmla="*/ 70 h 108"/>
              <a:gd name="T20" fmla="*/ 33 w 331"/>
              <a:gd name="T21" fmla="*/ 68 h 108"/>
              <a:gd name="T22" fmla="*/ 117 w 331"/>
              <a:gd name="T23" fmla="*/ 74 h 108"/>
              <a:gd name="T24" fmla="*/ 156 w 331"/>
              <a:gd name="T25" fmla="*/ 83 h 108"/>
              <a:gd name="T26" fmla="*/ 210 w 331"/>
              <a:gd name="T27" fmla="*/ 98 h 108"/>
              <a:gd name="T28" fmla="*/ 313 w 331"/>
              <a:gd name="T29" fmla="*/ 104 h 108"/>
              <a:gd name="T30" fmla="*/ 328 w 331"/>
              <a:gd name="T31" fmla="*/ 83 h 108"/>
              <a:gd name="T32" fmla="*/ 330 w 331"/>
              <a:gd name="T33" fmla="*/ 70 h 108"/>
              <a:gd name="T34" fmla="*/ 313 w 331"/>
              <a:gd name="T35" fmla="*/ 59 h 108"/>
              <a:gd name="T36" fmla="*/ 300 w 331"/>
              <a:gd name="T37" fmla="*/ 34 h 108"/>
              <a:gd name="T38" fmla="*/ 279 w 331"/>
              <a:gd name="T39" fmla="*/ 22 h 10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331"/>
              <a:gd name="T61" fmla="*/ 0 h 108"/>
              <a:gd name="T62" fmla="*/ 331 w 331"/>
              <a:gd name="T63" fmla="*/ 108 h 108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331" h="108">
                <a:moveTo>
                  <a:pt x="279" y="22"/>
                </a:moveTo>
                <a:cubicBezTo>
                  <a:pt x="230" y="24"/>
                  <a:pt x="239" y="21"/>
                  <a:pt x="160" y="19"/>
                </a:cubicBezTo>
                <a:cubicBezTo>
                  <a:pt x="154" y="19"/>
                  <a:pt x="145" y="14"/>
                  <a:pt x="139" y="13"/>
                </a:cubicBezTo>
                <a:cubicBezTo>
                  <a:pt x="134" y="9"/>
                  <a:pt x="130" y="8"/>
                  <a:pt x="124" y="7"/>
                </a:cubicBezTo>
                <a:cubicBezTo>
                  <a:pt x="120" y="0"/>
                  <a:pt x="110" y="0"/>
                  <a:pt x="100" y="1"/>
                </a:cubicBezTo>
                <a:cubicBezTo>
                  <a:pt x="81" y="10"/>
                  <a:pt x="59" y="13"/>
                  <a:pt x="39" y="14"/>
                </a:cubicBezTo>
                <a:cubicBezTo>
                  <a:pt x="32" y="17"/>
                  <a:pt x="26" y="18"/>
                  <a:pt x="19" y="22"/>
                </a:cubicBezTo>
                <a:cubicBezTo>
                  <a:pt x="14" y="28"/>
                  <a:pt x="12" y="35"/>
                  <a:pt x="7" y="41"/>
                </a:cubicBezTo>
                <a:cubicBezTo>
                  <a:pt x="5" y="49"/>
                  <a:pt x="3" y="56"/>
                  <a:pt x="1" y="65"/>
                </a:cubicBezTo>
                <a:cubicBezTo>
                  <a:pt x="1" y="67"/>
                  <a:pt x="0" y="70"/>
                  <a:pt x="0" y="70"/>
                </a:cubicBezTo>
                <a:cubicBezTo>
                  <a:pt x="11" y="72"/>
                  <a:pt x="22" y="72"/>
                  <a:pt x="33" y="68"/>
                </a:cubicBezTo>
                <a:cubicBezTo>
                  <a:pt x="67" y="69"/>
                  <a:pt x="87" y="69"/>
                  <a:pt x="117" y="74"/>
                </a:cubicBezTo>
                <a:cubicBezTo>
                  <a:pt x="131" y="81"/>
                  <a:pt x="140" y="82"/>
                  <a:pt x="156" y="83"/>
                </a:cubicBezTo>
                <a:cubicBezTo>
                  <a:pt x="175" y="88"/>
                  <a:pt x="190" y="96"/>
                  <a:pt x="210" y="98"/>
                </a:cubicBezTo>
                <a:cubicBezTo>
                  <a:pt x="240" y="108"/>
                  <a:pt x="281" y="105"/>
                  <a:pt x="313" y="104"/>
                </a:cubicBezTo>
                <a:cubicBezTo>
                  <a:pt x="316" y="97"/>
                  <a:pt x="322" y="87"/>
                  <a:pt x="328" y="83"/>
                </a:cubicBezTo>
                <a:cubicBezTo>
                  <a:pt x="331" y="79"/>
                  <a:pt x="328" y="75"/>
                  <a:pt x="330" y="70"/>
                </a:cubicBezTo>
                <a:cubicBezTo>
                  <a:pt x="327" y="60"/>
                  <a:pt x="324" y="61"/>
                  <a:pt x="313" y="59"/>
                </a:cubicBezTo>
                <a:cubicBezTo>
                  <a:pt x="307" y="53"/>
                  <a:pt x="306" y="40"/>
                  <a:pt x="300" y="34"/>
                </a:cubicBezTo>
                <a:cubicBezTo>
                  <a:pt x="294" y="28"/>
                  <a:pt x="283" y="24"/>
                  <a:pt x="279" y="22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92" name="Freeform 96"/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7039169" y="2591920"/>
            <a:ext cx="71803" cy="142875"/>
          </a:xfrm>
          <a:custGeom>
            <a:avLst/>
            <a:gdLst>
              <a:gd name="T0" fmla="*/ 0 w 51"/>
              <a:gd name="T1" fmla="*/ 0 h 82"/>
              <a:gd name="T2" fmla="*/ 20 w 51"/>
              <a:gd name="T3" fmla="*/ 13 h 82"/>
              <a:gd name="T4" fmla="*/ 29 w 51"/>
              <a:gd name="T5" fmla="*/ 33 h 82"/>
              <a:gd name="T6" fmla="*/ 45 w 51"/>
              <a:gd name="T7" fmla="*/ 42 h 82"/>
              <a:gd name="T8" fmla="*/ 48 w 51"/>
              <a:gd name="T9" fmla="*/ 55 h 82"/>
              <a:gd name="T10" fmla="*/ 29 w 51"/>
              <a:gd name="T11" fmla="*/ 82 h 8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1"/>
              <a:gd name="T19" fmla="*/ 0 h 82"/>
              <a:gd name="T20" fmla="*/ 51 w 51"/>
              <a:gd name="T21" fmla="*/ 82 h 8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1" h="82">
                <a:moveTo>
                  <a:pt x="0" y="0"/>
                </a:moveTo>
                <a:cubicBezTo>
                  <a:pt x="4" y="8"/>
                  <a:pt x="12" y="11"/>
                  <a:pt x="20" y="13"/>
                </a:cubicBezTo>
                <a:cubicBezTo>
                  <a:pt x="23" y="17"/>
                  <a:pt x="26" y="31"/>
                  <a:pt x="29" y="33"/>
                </a:cubicBezTo>
                <a:cubicBezTo>
                  <a:pt x="34" y="37"/>
                  <a:pt x="40" y="38"/>
                  <a:pt x="45" y="42"/>
                </a:cubicBezTo>
                <a:cubicBezTo>
                  <a:pt x="48" y="47"/>
                  <a:pt x="51" y="49"/>
                  <a:pt x="48" y="55"/>
                </a:cubicBezTo>
                <a:cubicBezTo>
                  <a:pt x="45" y="62"/>
                  <a:pt x="32" y="78"/>
                  <a:pt x="29" y="82"/>
                </a:cubicBezTo>
              </a:path>
            </a:pathLst>
          </a:custGeom>
          <a:solidFill>
            <a:srgbClr val="D2CFCC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93" name="Freeform 97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7374741" y="4857279"/>
            <a:ext cx="73269" cy="139700"/>
          </a:xfrm>
          <a:custGeom>
            <a:avLst/>
            <a:gdLst>
              <a:gd name="T0" fmla="*/ 4 w 52"/>
              <a:gd name="T1" fmla="*/ 0 h 80"/>
              <a:gd name="T2" fmla="*/ 34 w 52"/>
              <a:gd name="T3" fmla="*/ 60 h 80"/>
              <a:gd name="T4" fmla="*/ 52 w 52"/>
              <a:gd name="T5" fmla="*/ 78 h 80"/>
              <a:gd name="T6" fmla="*/ 0 60000 65536"/>
              <a:gd name="T7" fmla="*/ 0 60000 65536"/>
              <a:gd name="T8" fmla="*/ 0 60000 65536"/>
              <a:gd name="T9" fmla="*/ 0 w 52"/>
              <a:gd name="T10" fmla="*/ 0 h 80"/>
              <a:gd name="T11" fmla="*/ 52 w 52"/>
              <a:gd name="T12" fmla="*/ 80 h 8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2" h="80">
                <a:moveTo>
                  <a:pt x="4" y="0"/>
                </a:moveTo>
                <a:cubicBezTo>
                  <a:pt x="14" y="30"/>
                  <a:pt x="0" y="49"/>
                  <a:pt x="34" y="60"/>
                </a:cubicBezTo>
                <a:cubicBezTo>
                  <a:pt x="47" y="80"/>
                  <a:pt x="39" y="78"/>
                  <a:pt x="52" y="78"/>
                </a:cubicBezTo>
              </a:path>
            </a:pathLst>
          </a:custGeom>
          <a:solidFill>
            <a:schemeClr val="bg1">
              <a:lumMod val="65000"/>
            </a:scheme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94" name="Freeform 98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7387929" y="4725520"/>
            <a:ext cx="389792" cy="263525"/>
          </a:xfrm>
          <a:custGeom>
            <a:avLst/>
            <a:gdLst>
              <a:gd name="T0" fmla="*/ 2 w 276"/>
              <a:gd name="T1" fmla="*/ 75 h 150"/>
              <a:gd name="T2" fmla="*/ 24 w 276"/>
              <a:gd name="T3" fmla="*/ 63 h 150"/>
              <a:gd name="T4" fmla="*/ 36 w 276"/>
              <a:gd name="T5" fmla="*/ 59 h 150"/>
              <a:gd name="T6" fmla="*/ 216 w 276"/>
              <a:gd name="T7" fmla="*/ 13 h 150"/>
              <a:gd name="T8" fmla="*/ 272 w 276"/>
              <a:gd name="T9" fmla="*/ 13 h 150"/>
              <a:gd name="T10" fmla="*/ 268 w 276"/>
              <a:gd name="T11" fmla="*/ 25 h 150"/>
              <a:gd name="T12" fmla="*/ 244 w 276"/>
              <a:gd name="T13" fmla="*/ 45 h 150"/>
              <a:gd name="T14" fmla="*/ 211 w 276"/>
              <a:gd name="T15" fmla="*/ 65 h 150"/>
              <a:gd name="T16" fmla="*/ 179 w 276"/>
              <a:gd name="T17" fmla="*/ 74 h 150"/>
              <a:gd name="T18" fmla="*/ 130 w 276"/>
              <a:gd name="T19" fmla="*/ 95 h 150"/>
              <a:gd name="T20" fmla="*/ 61 w 276"/>
              <a:gd name="T21" fmla="*/ 137 h 150"/>
              <a:gd name="T22" fmla="*/ 34 w 276"/>
              <a:gd name="T23" fmla="*/ 141 h 150"/>
              <a:gd name="T24" fmla="*/ 4 w 276"/>
              <a:gd name="T25" fmla="*/ 114 h 150"/>
              <a:gd name="T26" fmla="*/ 2 w 276"/>
              <a:gd name="T27" fmla="*/ 75 h 15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76"/>
              <a:gd name="T43" fmla="*/ 0 h 150"/>
              <a:gd name="T44" fmla="*/ 276 w 276"/>
              <a:gd name="T45" fmla="*/ 150 h 150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76" h="150">
                <a:moveTo>
                  <a:pt x="2" y="75"/>
                </a:moveTo>
                <a:cubicBezTo>
                  <a:pt x="10" y="71"/>
                  <a:pt x="17" y="67"/>
                  <a:pt x="24" y="63"/>
                </a:cubicBezTo>
                <a:cubicBezTo>
                  <a:pt x="28" y="61"/>
                  <a:pt x="36" y="59"/>
                  <a:pt x="36" y="59"/>
                </a:cubicBezTo>
                <a:cubicBezTo>
                  <a:pt x="76" y="0"/>
                  <a:pt x="157" y="14"/>
                  <a:pt x="216" y="13"/>
                </a:cubicBezTo>
                <a:cubicBezTo>
                  <a:pt x="231" y="11"/>
                  <a:pt x="260" y="8"/>
                  <a:pt x="272" y="13"/>
                </a:cubicBezTo>
                <a:cubicBezTo>
                  <a:pt x="276" y="15"/>
                  <a:pt x="269" y="21"/>
                  <a:pt x="268" y="25"/>
                </a:cubicBezTo>
                <a:cubicBezTo>
                  <a:pt x="266" y="31"/>
                  <a:pt x="251" y="40"/>
                  <a:pt x="244" y="45"/>
                </a:cubicBezTo>
                <a:cubicBezTo>
                  <a:pt x="235" y="52"/>
                  <a:pt x="222" y="60"/>
                  <a:pt x="211" y="65"/>
                </a:cubicBezTo>
                <a:cubicBezTo>
                  <a:pt x="200" y="70"/>
                  <a:pt x="192" y="69"/>
                  <a:pt x="179" y="74"/>
                </a:cubicBezTo>
                <a:cubicBezTo>
                  <a:pt x="164" y="80"/>
                  <a:pt x="145" y="90"/>
                  <a:pt x="130" y="95"/>
                </a:cubicBezTo>
                <a:cubicBezTo>
                  <a:pt x="113" y="112"/>
                  <a:pt x="84" y="131"/>
                  <a:pt x="61" y="137"/>
                </a:cubicBezTo>
                <a:cubicBezTo>
                  <a:pt x="48" y="150"/>
                  <a:pt x="56" y="143"/>
                  <a:pt x="34" y="141"/>
                </a:cubicBezTo>
                <a:cubicBezTo>
                  <a:pt x="27" y="130"/>
                  <a:pt x="15" y="121"/>
                  <a:pt x="4" y="114"/>
                </a:cubicBezTo>
                <a:cubicBezTo>
                  <a:pt x="0" y="98"/>
                  <a:pt x="6" y="102"/>
                  <a:pt x="2" y="75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95" name="Freeform 99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459484" y="4647729"/>
            <a:ext cx="177311" cy="188912"/>
          </a:xfrm>
          <a:custGeom>
            <a:avLst/>
            <a:gdLst>
              <a:gd name="T0" fmla="*/ 40 w 126"/>
              <a:gd name="T1" fmla="*/ 53 h 107"/>
              <a:gd name="T2" fmla="*/ 0 w 126"/>
              <a:gd name="T3" fmla="*/ 22 h 107"/>
              <a:gd name="T4" fmla="*/ 31 w 126"/>
              <a:gd name="T5" fmla="*/ 0 h 107"/>
              <a:gd name="T6" fmla="*/ 115 w 126"/>
              <a:gd name="T7" fmla="*/ 27 h 107"/>
              <a:gd name="T8" fmla="*/ 97 w 126"/>
              <a:gd name="T9" fmla="*/ 75 h 107"/>
              <a:gd name="T10" fmla="*/ 71 w 126"/>
              <a:gd name="T11" fmla="*/ 93 h 107"/>
              <a:gd name="T12" fmla="*/ 57 w 126"/>
              <a:gd name="T13" fmla="*/ 102 h 107"/>
              <a:gd name="T14" fmla="*/ 40 w 126"/>
              <a:gd name="T15" fmla="*/ 62 h 107"/>
              <a:gd name="T16" fmla="*/ 26 w 126"/>
              <a:gd name="T17" fmla="*/ 58 h 107"/>
              <a:gd name="T18" fmla="*/ 40 w 126"/>
              <a:gd name="T19" fmla="*/ 53 h 10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26"/>
              <a:gd name="T31" fmla="*/ 0 h 107"/>
              <a:gd name="T32" fmla="*/ 126 w 126"/>
              <a:gd name="T33" fmla="*/ 107 h 107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26" h="107">
                <a:moveTo>
                  <a:pt x="40" y="53"/>
                </a:moveTo>
                <a:cubicBezTo>
                  <a:pt x="15" y="49"/>
                  <a:pt x="7" y="46"/>
                  <a:pt x="0" y="22"/>
                </a:cubicBezTo>
                <a:cubicBezTo>
                  <a:pt x="6" y="4"/>
                  <a:pt x="13" y="5"/>
                  <a:pt x="31" y="0"/>
                </a:cubicBezTo>
                <a:cubicBezTo>
                  <a:pt x="63" y="4"/>
                  <a:pt x="85" y="16"/>
                  <a:pt x="115" y="27"/>
                </a:cubicBezTo>
                <a:cubicBezTo>
                  <a:pt x="126" y="55"/>
                  <a:pt x="122" y="59"/>
                  <a:pt x="97" y="75"/>
                </a:cubicBezTo>
                <a:cubicBezTo>
                  <a:pt x="88" y="81"/>
                  <a:pt x="80" y="87"/>
                  <a:pt x="71" y="93"/>
                </a:cubicBezTo>
                <a:cubicBezTo>
                  <a:pt x="66" y="96"/>
                  <a:pt x="57" y="102"/>
                  <a:pt x="57" y="102"/>
                </a:cubicBezTo>
                <a:cubicBezTo>
                  <a:pt x="26" y="93"/>
                  <a:pt x="60" y="107"/>
                  <a:pt x="40" y="62"/>
                </a:cubicBezTo>
                <a:cubicBezTo>
                  <a:pt x="38" y="58"/>
                  <a:pt x="26" y="63"/>
                  <a:pt x="26" y="58"/>
                </a:cubicBezTo>
                <a:cubicBezTo>
                  <a:pt x="26" y="53"/>
                  <a:pt x="35" y="55"/>
                  <a:pt x="40" y="53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96" name="Freeform 100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3668781" y="4141316"/>
            <a:ext cx="684334" cy="465138"/>
          </a:xfrm>
          <a:custGeom>
            <a:avLst/>
            <a:gdLst>
              <a:gd name="T0" fmla="*/ 22 w 485"/>
              <a:gd name="T1" fmla="*/ 100 h 265"/>
              <a:gd name="T2" fmla="*/ 74 w 485"/>
              <a:gd name="T3" fmla="*/ 92 h 265"/>
              <a:gd name="T4" fmla="*/ 86 w 485"/>
              <a:gd name="T5" fmla="*/ 48 h 265"/>
              <a:gd name="T6" fmla="*/ 126 w 485"/>
              <a:gd name="T7" fmla="*/ 0 h 265"/>
              <a:gd name="T8" fmla="*/ 298 w 485"/>
              <a:gd name="T9" fmla="*/ 28 h 265"/>
              <a:gd name="T10" fmla="*/ 390 w 485"/>
              <a:gd name="T11" fmla="*/ 60 h 265"/>
              <a:gd name="T12" fmla="*/ 446 w 485"/>
              <a:gd name="T13" fmla="*/ 88 h 265"/>
              <a:gd name="T14" fmla="*/ 482 w 485"/>
              <a:gd name="T15" fmla="*/ 116 h 265"/>
              <a:gd name="T16" fmla="*/ 454 w 485"/>
              <a:gd name="T17" fmla="*/ 168 h 265"/>
              <a:gd name="T18" fmla="*/ 462 w 485"/>
              <a:gd name="T19" fmla="*/ 200 h 265"/>
              <a:gd name="T20" fmla="*/ 474 w 485"/>
              <a:gd name="T21" fmla="*/ 244 h 265"/>
              <a:gd name="T22" fmla="*/ 442 w 485"/>
              <a:gd name="T23" fmla="*/ 256 h 265"/>
              <a:gd name="T24" fmla="*/ 418 w 485"/>
              <a:gd name="T25" fmla="*/ 264 h 265"/>
              <a:gd name="T26" fmla="*/ 342 w 485"/>
              <a:gd name="T27" fmla="*/ 260 h 265"/>
              <a:gd name="T28" fmla="*/ 310 w 485"/>
              <a:gd name="T29" fmla="*/ 228 h 265"/>
              <a:gd name="T30" fmla="*/ 206 w 485"/>
              <a:gd name="T31" fmla="*/ 220 h 265"/>
              <a:gd name="T32" fmla="*/ 166 w 485"/>
              <a:gd name="T33" fmla="*/ 200 h 265"/>
              <a:gd name="T34" fmla="*/ 170 w 485"/>
              <a:gd name="T35" fmla="*/ 168 h 265"/>
              <a:gd name="T36" fmla="*/ 182 w 485"/>
              <a:gd name="T37" fmla="*/ 160 h 265"/>
              <a:gd name="T38" fmla="*/ 138 w 485"/>
              <a:gd name="T39" fmla="*/ 132 h 265"/>
              <a:gd name="T40" fmla="*/ 94 w 485"/>
              <a:gd name="T41" fmla="*/ 136 h 265"/>
              <a:gd name="T42" fmla="*/ 58 w 485"/>
              <a:gd name="T43" fmla="*/ 148 h 265"/>
              <a:gd name="T44" fmla="*/ 22 w 485"/>
              <a:gd name="T45" fmla="*/ 100 h 26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485"/>
              <a:gd name="T70" fmla="*/ 0 h 265"/>
              <a:gd name="T71" fmla="*/ 485 w 485"/>
              <a:gd name="T72" fmla="*/ 265 h 265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485" h="265">
                <a:moveTo>
                  <a:pt x="22" y="100"/>
                </a:moveTo>
                <a:cubicBezTo>
                  <a:pt x="42" y="107"/>
                  <a:pt x="57" y="103"/>
                  <a:pt x="74" y="92"/>
                </a:cubicBezTo>
                <a:cubicBezTo>
                  <a:pt x="81" y="70"/>
                  <a:pt x="77" y="84"/>
                  <a:pt x="86" y="48"/>
                </a:cubicBezTo>
                <a:cubicBezTo>
                  <a:pt x="88" y="40"/>
                  <a:pt x="120" y="10"/>
                  <a:pt x="126" y="0"/>
                </a:cubicBezTo>
                <a:cubicBezTo>
                  <a:pt x="185" y="6"/>
                  <a:pt x="239" y="24"/>
                  <a:pt x="298" y="28"/>
                </a:cubicBezTo>
                <a:cubicBezTo>
                  <a:pt x="326" y="42"/>
                  <a:pt x="358" y="54"/>
                  <a:pt x="390" y="60"/>
                </a:cubicBezTo>
                <a:cubicBezTo>
                  <a:pt x="408" y="73"/>
                  <a:pt x="429" y="74"/>
                  <a:pt x="446" y="88"/>
                </a:cubicBezTo>
                <a:cubicBezTo>
                  <a:pt x="458" y="98"/>
                  <a:pt x="482" y="116"/>
                  <a:pt x="482" y="116"/>
                </a:cubicBezTo>
                <a:cubicBezTo>
                  <a:pt x="478" y="155"/>
                  <a:pt x="485" y="158"/>
                  <a:pt x="454" y="168"/>
                </a:cubicBezTo>
                <a:cubicBezTo>
                  <a:pt x="444" y="184"/>
                  <a:pt x="443" y="194"/>
                  <a:pt x="462" y="200"/>
                </a:cubicBezTo>
                <a:cubicBezTo>
                  <a:pt x="472" y="215"/>
                  <a:pt x="479" y="221"/>
                  <a:pt x="474" y="244"/>
                </a:cubicBezTo>
                <a:cubicBezTo>
                  <a:pt x="472" y="253"/>
                  <a:pt x="444" y="255"/>
                  <a:pt x="442" y="256"/>
                </a:cubicBezTo>
                <a:cubicBezTo>
                  <a:pt x="434" y="258"/>
                  <a:pt x="418" y="264"/>
                  <a:pt x="418" y="264"/>
                </a:cubicBezTo>
                <a:cubicBezTo>
                  <a:pt x="393" y="263"/>
                  <a:pt x="367" y="265"/>
                  <a:pt x="342" y="260"/>
                </a:cubicBezTo>
                <a:cubicBezTo>
                  <a:pt x="333" y="258"/>
                  <a:pt x="324" y="231"/>
                  <a:pt x="310" y="228"/>
                </a:cubicBezTo>
                <a:cubicBezTo>
                  <a:pt x="304" y="227"/>
                  <a:pt x="208" y="220"/>
                  <a:pt x="206" y="220"/>
                </a:cubicBezTo>
                <a:cubicBezTo>
                  <a:pt x="169" y="211"/>
                  <a:pt x="180" y="221"/>
                  <a:pt x="166" y="200"/>
                </a:cubicBezTo>
                <a:cubicBezTo>
                  <a:pt x="167" y="189"/>
                  <a:pt x="166" y="178"/>
                  <a:pt x="170" y="168"/>
                </a:cubicBezTo>
                <a:cubicBezTo>
                  <a:pt x="172" y="164"/>
                  <a:pt x="180" y="164"/>
                  <a:pt x="182" y="160"/>
                </a:cubicBezTo>
                <a:cubicBezTo>
                  <a:pt x="188" y="145"/>
                  <a:pt x="147" y="135"/>
                  <a:pt x="138" y="132"/>
                </a:cubicBezTo>
                <a:cubicBezTo>
                  <a:pt x="123" y="133"/>
                  <a:pt x="109" y="133"/>
                  <a:pt x="94" y="136"/>
                </a:cubicBezTo>
                <a:cubicBezTo>
                  <a:pt x="82" y="138"/>
                  <a:pt x="58" y="148"/>
                  <a:pt x="58" y="148"/>
                </a:cubicBezTo>
                <a:cubicBezTo>
                  <a:pt x="0" y="136"/>
                  <a:pt x="22" y="152"/>
                  <a:pt x="22" y="10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97" name="Freeform 101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4276916" y="4274666"/>
            <a:ext cx="602274" cy="477838"/>
          </a:xfrm>
          <a:custGeom>
            <a:avLst/>
            <a:gdLst>
              <a:gd name="T0" fmla="*/ 43 w 427"/>
              <a:gd name="T1" fmla="*/ 32 h 272"/>
              <a:gd name="T2" fmla="*/ 135 w 427"/>
              <a:gd name="T3" fmla="*/ 40 h 272"/>
              <a:gd name="T4" fmla="*/ 227 w 427"/>
              <a:gd name="T5" fmla="*/ 40 h 272"/>
              <a:gd name="T6" fmla="*/ 251 w 427"/>
              <a:gd name="T7" fmla="*/ 32 h 272"/>
              <a:gd name="T8" fmla="*/ 303 w 427"/>
              <a:gd name="T9" fmla="*/ 0 h 272"/>
              <a:gd name="T10" fmla="*/ 359 w 427"/>
              <a:gd name="T11" fmla="*/ 4 h 272"/>
              <a:gd name="T12" fmla="*/ 383 w 427"/>
              <a:gd name="T13" fmla="*/ 12 h 272"/>
              <a:gd name="T14" fmla="*/ 411 w 427"/>
              <a:gd name="T15" fmla="*/ 44 h 272"/>
              <a:gd name="T16" fmla="*/ 427 w 427"/>
              <a:gd name="T17" fmla="*/ 80 h 272"/>
              <a:gd name="T18" fmla="*/ 367 w 427"/>
              <a:gd name="T19" fmla="*/ 132 h 272"/>
              <a:gd name="T20" fmla="*/ 371 w 427"/>
              <a:gd name="T21" fmla="*/ 176 h 272"/>
              <a:gd name="T22" fmla="*/ 379 w 427"/>
              <a:gd name="T23" fmla="*/ 200 h 272"/>
              <a:gd name="T24" fmla="*/ 339 w 427"/>
              <a:gd name="T25" fmla="*/ 236 h 272"/>
              <a:gd name="T26" fmla="*/ 323 w 427"/>
              <a:gd name="T27" fmla="*/ 272 h 272"/>
              <a:gd name="T28" fmla="*/ 279 w 427"/>
              <a:gd name="T29" fmla="*/ 268 h 272"/>
              <a:gd name="T30" fmla="*/ 267 w 427"/>
              <a:gd name="T31" fmla="*/ 244 h 272"/>
              <a:gd name="T32" fmla="*/ 191 w 427"/>
              <a:gd name="T33" fmla="*/ 220 h 272"/>
              <a:gd name="T34" fmla="*/ 167 w 427"/>
              <a:gd name="T35" fmla="*/ 204 h 272"/>
              <a:gd name="T36" fmla="*/ 139 w 427"/>
              <a:gd name="T37" fmla="*/ 176 h 272"/>
              <a:gd name="T38" fmla="*/ 79 w 427"/>
              <a:gd name="T39" fmla="*/ 188 h 272"/>
              <a:gd name="T40" fmla="*/ 35 w 427"/>
              <a:gd name="T41" fmla="*/ 184 h 272"/>
              <a:gd name="T42" fmla="*/ 11 w 427"/>
              <a:gd name="T43" fmla="*/ 144 h 272"/>
              <a:gd name="T44" fmla="*/ 31 w 427"/>
              <a:gd name="T45" fmla="*/ 76 h 272"/>
              <a:gd name="T46" fmla="*/ 43 w 427"/>
              <a:gd name="T47" fmla="*/ 32 h 272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427"/>
              <a:gd name="T73" fmla="*/ 0 h 272"/>
              <a:gd name="T74" fmla="*/ 427 w 427"/>
              <a:gd name="T75" fmla="*/ 272 h 272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427" h="272">
                <a:moveTo>
                  <a:pt x="43" y="32"/>
                </a:moveTo>
                <a:cubicBezTo>
                  <a:pt x="66" y="78"/>
                  <a:pt x="97" y="46"/>
                  <a:pt x="135" y="40"/>
                </a:cubicBezTo>
                <a:cubicBezTo>
                  <a:pt x="176" y="44"/>
                  <a:pt x="182" y="47"/>
                  <a:pt x="227" y="40"/>
                </a:cubicBezTo>
                <a:cubicBezTo>
                  <a:pt x="235" y="39"/>
                  <a:pt x="251" y="32"/>
                  <a:pt x="251" y="32"/>
                </a:cubicBezTo>
                <a:cubicBezTo>
                  <a:pt x="274" y="9"/>
                  <a:pt x="269" y="7"/>
                  <a:pt x="303" y="0"/>
                </a:cubicBezTo>
                <a:cubicBezTo>
                  <a:pt x="322" y="1"/>
                  <a:pt x="340" y="1"/>
                  <a:pt x="359" y="4"/>
                </a:cubicBezTo>
                <a:cubicBezTo>
                  <a:pt x="367" y="5"/>
                  <a:pt x="383" y="12"/>
                  <a:pt x="383" y="12"/>
                </a:cubicBezTo>
                <a:cubicBezTo>
                  <a:pt x="402" y="40"/>
                  <a:pt x="391" y="31"/>
                  <a:pt x="411" y="44"/>
                </a:cubicBezTo>
                <a:cubicBezTo>
                  <a:pt x="415" y="57"/>
                  <a:pt x="423" y="67"/>
                  <a:pt x="427" y="80"/>
                </a:cubicBezTo>
                <a:cubicBezTo>
                  <a:pt x="421" y="98"/>
                  <a:pt x="384" y="120"/>
                  <a:pt x="367" y="132"/>
                </a:cubicBezTo>
                <a:cubicBezTo>
                  <a:pt x="368" y="147"/>
                  <a:pt x="368" y="161"/>
                  <a:pt x="371" y="176"/>
                </a:cubicBezTo>
                <a:cubicBezTo>
                  <a:pt x="372" y="184"/>
                  <a:pt x="379" y="200"/>
                  <a:pt x="379" y="200"/>
                </a:cubicBezTo>
                <a:cubicBezTo>
                  <a:pt x="373" y="225"/>
                  <a:pt x="358" y="223"/>
                  <a:pt x="339" y="236"/>
                </a:cubicBezTo>
                <a:cubicBezTo>
                  <a:pt x="335" y="249"/>
                  <a:pt x="327" y="259"/>
                  <a:pt x="323" y="272"/>
                </a:cubicBezTo>
                <a:cubicBezTo>
                  <a:pt x="308" y="271"/>
                  <a:pt x="293" y="272"/>
                  <a:pt x="279" y="268"/>
                </a:cubicBezTo>
                <a:cubicBezTo>
                  <a:pt x="268" y="265"/>
                  <a:pt x="273" y="250"/>
                  <a:pt x="267" y="244"/>
                </a:cubicBezTo>
                <a:cubicBezTo>
                  <a:pt x="251" y="228"/>
                  <a:pt x="210" y="222"/>
                  <a:pt x="191" y="220"/>
                </a:cubicBezTo>
                <a:cubicBezTo>
                  <a:pt x="183" y="215"/>
                  <a:pt x="170" y="213"/>
                  <a:pt x="167" y="204"/>
                </a:cubicBezTo>
                <a:cubicBezTo>
                  <a:pt x="161" y="185"/>
                  <a:pt x="159" y="181"/>
                  <a:pt x="139" y="176"/>
                </a:cubicBezTo>
                <a:cubicBezTo>
                  <a:pt x="117" y="179"/>
                  <a:pt x="99" y="181"/>
                  <a:pt x="79" y="188"/>
                </a:cubicBezTo>
                <a:cubicBezTo>
                  <a:pt x="64" y="187"/>
                  <a:pt x="49" y="188"/>
                  <a:pt x="35" y="184"/>
                </a:cubicBezTo>
                <a:cubicBezTo>
                  <a:pt x="17" y="178"/>
                  <a:pt x="39" y="153"/>
                  <a:pt x="11" y="144"/>
                </a:cubicBezTo>
                <a:cubicBezTo>
                  <a:pt x="0" y="112"/>
                  <a:pt x="1" y="96"/>
                  <a:pt x="31" y="76"/>
                </a:cubicBezTo>
                <a:cubicBezTo>
                  <a:pt x="37" y="57"/>
                  <a:pt x="43" y="53"/>
                  <a:pt x="43" y="32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98" name="Freeform 102"/>
          <p:cNvSpPr>
            <a:spLocks/>
          </p:cNvSpPr>
          <p:nvPr>
            <p:custDataLst>
              <p:tags r:id="rId95"/>
            </p:custDataLst>
          </p:nvPr>
        </p:nvSpPr>
        <p:spPr bwMode="auto">
          <a:xfrm>
            <a:off x="4701877" y="4315941"/>
            <a:ext cx="763466" cy="552450"/>
          </a:xfrm>
          <a:custGeom>
            <a:avLst/>
            <a:gdLst>
              <a:gd name="T0" fmla="*/ 94 w 541"/>
              <a:gd name="T1" fmla="*/ 0 h 314"/>
              <a:gd name="T2" fmla="*/ 130 w 541"/>
              <a:gd name="T3" fmla="*/ 16 h 314"/>
              <a:gd name="T4" fmla="*/ 166 w 541"/>
              <a:gd name="T5" fmla="*/ 40 h 314"/>
              <a:gd name="T6" fmla="*/ 190 w 541"/>
              <a:gd name="T7" fmla="*/ 36 h 314"/>
              <a:gd name="T8" fmla="*/ 214 w 541"/>
              <a:gd name="T9" fmla="*/ 28 h 314"/>
              <a:gd name="T10" fmla="*/ 290 w 541"/>
              <a:gd name="T11" fmla="*/ 120 h 314"/>
              <a:gd name="T12" fmla="*/ 358 w 541"/>
              <a:gd name="T13" fmla="*/ 172 h 314"/>
              <a:gd name="T14" fmla="*/ 390 w 541"/>
              <a:gd name="T15" fmla="*/ 168 h 314"/>
              <a:gd name="T16" fmla="*/ 434 w 541"/>
              <a:gd name="T17" fmla="*/ 128 h 314"/>
              <a:gd name="T18" fmla="*/ 518 w 541"/>
              <a:gd name="T19" fmla="*/ 168 h 314"/>
              <a:gd name="T20" fmla="*/ 534 w 541"/>
              <a:gd name="T21" fmla="*/ 228 h 314"/>
              <a:gd name="T22" fmla="*/ 462 w 541"/>
              <a:gd name="T23" fmla="*/ 288 h 314"/>
              <a:gd name="T24" fmla="*/ 318 w 541"/>
              <a:gd name="T25" fmla="*/ 240 h 314"/>
              <a:gd name="T26" fmla="*/ 190 w 541"/>
              <a:gd name="T27" fmla="*/ 236 h 314"/>
              <a:gd name="T28" fmla="*/ 130 w 541"/>
              <a:gd name="T29" fmla="*/ 228 h 314"/>
              <a:gd name="T30" fmla="*/ 66 w 541"/>
              <a:gd name="T31" fmla="*/ 256 h 314"/>
              <a:gd name="T32" fmla="*/ 22 w 541"/>
              <a:gd name="T33" fmla="*/ 252 h 314"/>
              <a:gd name="T34" fmla="*/ 58 w 541"/>
              <a:gd name="T35" fmla="*/ 192 h 314"/>
              <a:gd name="T36" fmla="*/ 70 w 541"/>
              <a:gd name="T37" fmla="*/ 96 h 314"/>
              <a:gd name="T38" fmla="*/ 102 w 541"/>
              <a:gd name="T39" fmla="*/ 72 h 314"/>
              <a:gd name="T40" fmla="*/ 90 w 541"/>
              <a:gd name="T41" fmla="*/ 28 h 314"/>
              <a:gd name="T42" fmla="*/ 94 w 541"/>
              <a:gd name="T43" fmla="*/ 0 h 314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541"/>
              <a:gd name="T67" fmla="*/ 0 h 314"/>
              <a:gd name="T68" fmla="*/ 541 w 541"/>
              <a:gd name="T69" fmla="*/ 314 h 314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541" h="314">
                <a:moveTo>
                  <a:pt x="94" y="0"/>
                </a:moveTo>
                <a:cubicBezTo>
                  <a:pt x="107" y="4"/>
                  <a:pt x="117" y="12"/>
                  <a:pt x="130" y="16"/>
                </a:cubicBezTo>
                <a:cubicBezTo>
                  <a:pt x="140" y="31"/>
                  <a:pt x="149" y="34"/>
                  <a:pt x="166" y="40"/>
                </a:cubicBezTo>
                <a:cubicBezTo>
                  <a:pt x="174" y="39"/>
                  <a:pt x="182" y="38"/>
                  <a:pt x="190" y="36"/>
                </a:cubicBezTo>
                <a:cubicBezTo>
                  <a:pt x="198" y="34"/>
                  <a:pt x="214" y="28"/>
                  <a:pt x="214" y="28"/>
                </a:cubicBezTo>
                <a:cubicBezTo>
                  <a:pt x="272" y="36"/>
                  <a:pt x="270" y="74"/>
                  <a:pt x="290" y="120"/>
                </a:cubicBezTo>
                <a:cubicBezTo>
                  <a:pt x="302" y="147"/>
                  <a:pt x="332" y="163"/>
                  <a:pt x="358" y="172"/>
                </a:cubicBezTo>
                <a:cubicBezTo>
                  <a:pt x="369" y="171"/>
                  <a:pt x="380" y="171"/>
                  <a:pt x="390" y="168"/>
                </a:cubicBezTo>
                <a:cubicBezTo>
                  <a:pt x="407" y="163"/>
                  <a:pt x="413" y="139"/>
                  <a:pt x="434" y="128"/>
                </a:cubicBezTo>
                <a:cubicBezTo>
                  <a:pt x="489" y="132"/>
                  <a:pt x="497" y="125"/>
                  <a:pt x="518" y="168"/>
                </a:cubicBezTo>
                <a:cubicBezTo>
                  <a:pt x="521" y="196"/>
                  <a:pt x="520" y="207"/>
                  <a:pt x="534" y="228"/>
                </a:cubicBezTo>
                <a:cubicBezTo>
                  <a:pt x="529" y="308"/>
                  <a:pt x="541" y="314"/>
                  <a:pt x="462" y="288"/>
                </a:cubicBezTo>
                <a:cubicBezTo>
                  <a:pt x="452" y="273"/>
                  <a:pt x="343" y="241"/>
                  <a:pt x="318" y="240"/>
                </a:cubicBezTo>
                <a:cubicBezTo>
                  <a:pt x="275" y="238"/>
                  <a:pt x="233" y="237"/>
                  <a:pt x="190" y="236"/>
                </a:cubicBezTo>
                <a:cubicBezTo>
                  <a:pt x="166" y="220"/>
                  <a:pt x="162" y="224"/>
                  <a:pt x="130" y="228"/>
                </a:cubicBezTo>
                <a:cubicBezTo>
                  <a:pt x="104" y="245"/>
                  <a:pt x="100" y="251"/>
                  <a:pt x="66" y="256"/>
                </a:cubicBezTo>
                <a:cubicBezTo>
                  <a:pt x="51" y="255"/>
                  <a:pt x="31" y="263"/>
                  <a:pt x="22" y="252"/>
                </a:cubicBezTo>
                <a:cubicBezTo>
                  <a:pt x="0" y="225"/>
                  <a:pt x="44" y="202"/>
                  <a:pt x="58" y="192"/>
                </a:cubicBezTo>
                <a:cubicBezTo>
                  <a:pt x="67" y="164"/>
                  <a:pt x="25" y="111"/>
                  <a:pt x="70" y="96"/>
                </a:cubicBezTo>
                <a:cubicBezTo>
                  <a:pt x="79" y="82"/>
                  <a:pt x="86" y="77"/>
                  <a:pt x="102" y="72"/>
                </a:cubicBezTo>
                <a:cubicBezTo>
                  <a:pt x="108" y="53"/>
                  <a:pt x="111" y="35"/>
                  <a:pt x="90" y="28"/>
                </a:cubicBezTo>
                <a:cubicBezTo>
                  <a:pt x="84" y="10"/>
                  <a:pt x="84" y="20"/>
                  <a:pt x="94" y="0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99" name="Freeform 103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5241141" y="1796583"/>
            <a:ext cx="1012581" cy="1576387"/>
          </a:xfrm>
          <a:custGeom>
            <a:avLst/>
            <a:gdLst>
              <a:gd name="T0" fmla="*/ 515 w 717"/>
              <a:gd name="T1" fmla="*/ 4 h 898"/>
              <a:gd name="T2" fmla="*/ 527 w 717"/>
              <a:gd name="T3" fmla="*/ 44 h 898"/>
              <a:gd name="T4" fmla="*/ 531 w 717"/>
              <a:gd name="T5" fmla="*/ 56 h 898"/>
              <a:gd name="T6" fmla="*/ 539 w 717"/>
              <a:gd name="T7" fmla="*/ 128 h 898"/>
              <a:gd name="T8" fmla="*/ 495 w 717"/>
              <a:gd name="T9" fmla="*/ 144 h 898"/>
              <a:gd name="T10" fmla="*/ 499 w 717"/>
              <a:gd name="T11" fmla="*/ 160 h 898"/>
              <a:gd name="T12" fmla="*/ 535 w 717"/>
              <a:gd name="T13" fmla="*/ 168 h 898"/>
              <a:gd name="T14" fmla="*/ 567 w 717"/>
              <a:gd name="T15" fmla="*/ 224 h 898"/>
              <a:gd name="T16" fmla="*/ 551 w 717"/>
              <a:gd name="T17" fmla="*/ 292 h 898"/>
              <a:gd name="T18" fmla="*/ 607 w 717"/>
              <a:gd name="T19" fmla="*/ 356 h 898"/>
              <a:gd name="T20" fmla="*/ 671 w 717"/>
              <a:gd name="T21" fmla="*/ 388 h 898"/>
              <a:gd name="T22" fmla="*/ 695 w 717"/>
              <a:gd name="T23" fmla="*/ 416 h 898"/>
              <a:gd name="T24" fmla="*/ 679 w 717"/>
              <a:gd name="T25" fmla="*/ 464 h 898"/>
              <a:gd name="T26" fmla="*/ 583 w 717"/>
              <a:gd name="T27" fmla="*/ 452 h 898"/>
              <a:gd name="T28" fmla="*/ 535 w 717"/>
              <a:gd name="T29" fmla="*/ 460 h 898"/>
              <a:gd name="T30" fmla="*/ 507 w 717"/>
              <a:gd name="T31" fmla="*/ 536 h 898"/>
              <a:gd name="T32" fmla="*/ 499 w 717"/>
              <a:gd name="T33" fmla="*/ 652 h 898"/>
              <a:gd name="T34" fmla="*/ 483 w 717"/>
              <a:gd name="T35" fmla="*/ 676 h 898"/>
              <a:gd name="T36" fmla="*/ 467 w 717"/>
              <a:gd name="T37" fmla="*/ 712 h 898"/>
              <a:gd name="T38" fmla="*/ 415 w 717"/>
              <a:gd name="T39" fmla="*/ 740 h 898"/>
              <a:gd name="T40" fmla="*/ 391 w 717"/>
              <a:gd name="T41" fmla="*/ 756 h 898"/>
              <a:gd name="T42" fmla="*/ 371 w 717"/>
              <a:gd name="T43" fmla="*/ 792 h 898"/>
              <a:gd name="T44" fmla="*/ 383 w 717"/>
              <a:gd name="T45" fmla="*/ 880 h 898"/>
              <a:gd name="T46" fmla="*/ 379 w 717"/>
              <a:gd name="T47" fmla="*/ 896 h 898"/>
              <a:gd name="T48" fmla="*/ 371 w 717"/>
              <a:gd name="T49" fmla="*/ 884 h 898"/>
              <a:gd name="T50" fmla="*/ 331 w 717"/>
              <a:gd name="T51" fmla="*/ 864 h 898"/>
              <a:gd name="T52" fmla="*/ 283 w 717"/>
              <a:gd name="T53" fmla="*/ 816 h 898"/>
              <a:gd name="T54" fmla="*/ 247 w 717"/>
              <a:gd name="T55" fmla="*/ 776 h 898"/>
              <a:gd name="T56" fmla="*/ 255 w 717"/>
              <a:gd name="T57" fmla="*/ 696 h 898"/>
              <a:gd name="T58" fmla="*/ 219 w 717"/>
              <a:gd name="T59" fmla="*/ 636 h 898"/>
              <a:gd name="T60" fmla="*/ 183 w 717"/>
              <a:gd name="T61" fmla="*/ 524 h 898"/>
              <a:gd name="T62" fmla="*/ 171 w 717"/>
              <a:gd name="T63" fmla="*/ 484 h 898"/>
              <a:gd name="T64" fmla="*/ 135 w 717"/>
              <a:gd name="T65" fmla="*/ 452 h 898"/>
              <a:gd name="T66" fmla="*/ 55 w 717"/>
              <a:gd name="T67" fmla="*/ 480 h 898"/>
              <a:gd name="T68" fmla="*/ 15 w 717"/>
              <a:gd name="T69" fmla="*/ 476 h 898"/>
              <a:gd name="T70" fmla="*/ 39 w 717"/>
              <a:gd name="T71" fmla="*/ 380 h 898"/>
              <a:gd name="T72" fmla="*/ 43 w 717"/>
              <a:gd name="T73" fmla="*/ 364 h 898"/>
              <a:gd name="T74" fmla="*/ 67 w 717"/>
              <a:gd name="T75" fmla="*/ 356 h 898"/>
              <a:gd name="T76" fmla="*/ 111 w 717"/>
              <a:gd name="T77" fmla="*/ 300 h 898"/>
              <a:gd name="T78" fmla="*/ 143 w 717"/>
              <a:gd name="T79" fmla="*/ 256 h 898"/>
              <a:gd name="T80" fmla="*/ 179 w 717"/>
              <a:gd name="T81" fmla="*/ 196 h 898"/>
              <a:gd name="T82" fmla="*/ 203 w 717"/>
              <a:gd name="T83" fmla="*/ 164 h 898"/>
              <a:gd name="T84" fmla="*/ 223 w 717"/>
              <a:gd name="T85" fmla="*/ 80 h 898"/>
              <a:gd name="T86" fmla="*/ 255 w 717"/>
              <a:gd name="T87" fmla="*/ 0 h 898"/>
              <a:gd name="T88" fmla="*/ 515 w 717"/>
              <a:gd name="T89" fmla="*/ 4 h 89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717"/>
              <a:gd name="T136" fmla="*/ 0 h 898"/>
              <a:gd name="T137" fmla="*/ 717 w 717"/>
              <a:gd name="T138" fmla="*/ 898 h 89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717" h="898">
                <a:moveTo>
                  <a:pt x="515" y="4"/>
                </a:moveTo>
                <a:cubicBezTo>
                  <a:pt x="521" y="28"/>
                  <a:pt x="517" y="15"/>
                  <a:pt x="527" y="44"/>
                </a:cubicBezTo>
                <a:cubicBezTo>
                  <a:pt x="528" y="48"/>
                  <a:pt x="531" y="56"/>
                  <a:pt x="531" y="56"/>
                </a:cubicBezTo>
                <a:cubicBezTo>
                  <a:pt x="528" y="83"/>
                  <a:pt x="514" y="111"/>
                  <a:pt x="539" y="128"/>
                </a:cubicBezTo>
                <a:cubicBezTo>
                  <a:pt x="528" y="160"/>
                  <a:pt x="547" y="115"/>
                  <a:pt x="495" y="144"/>
                </a:cubicBezTo>
                <a:cubicBezTo>
                  <a:pt x="490" y="147"/>
                  <a:pt x="495" y="156"/>
                  <a:pt x="499" y="160"/>
                </a:cubicBezTo>
                <a:cubicBezTo>
                  <a:pt x="508" y="169"/>
                  <a:pt x="523" y="166"/>
                  <a:pt x="535" y="168"/>
                </a:cubicBezTo>
                <a:cubicBezTo>
                  <a:pt x="540" y="220"/>
                  <a:pt x="535" y="200"/>
                  <a:pt x="567" y="224"/>
                </a:cubicBezTo>
                <a:cubicBezTo>
                  <a:pt x="576" y="250"/>
                  <a:pt x="569" y="274"/>
                  <a:pt x="551" y="292"/>
                </a:cubicBezTo>
                <a:cubicBezTo>
                  <a:pt x="540" y="325"/>
                  <a:pt x="579" y="349"/>
                  <a:pt x="607" y="356"/>
                </a:cubicBezTo>
                <a:cubicBezTo>
                  <a:pt x="628" y="372"/>
                  <a:pt x="645" y="382"/>
                  <a:pt x="671" y="388"/>
                </a:cubicBezTo>
                <a:cubicBezTo>
                  <a:pt x="676" y="404"/>
                  <a:pt x="679" y="411"/>
                  <a:pt x="695" y="416"/>
                </a:cubicBezTo>
                <a:cubicBezTo>
                  <a:pt x="717" y="438"/>
                  <a:pt x="705" y="455"/>
                  <a:pt x="679" y="464"/>
                </a:cubicBezTo>
                <a:cubicBezTo>
                  <a:pt x="646" y="461"/>
                  <a:pt x="615" y="460"/>
                  <a:pt x="583" y="452"/>
                </a:cubicBezTo>
                <a:cubicBezTo>
                  <a:pt x="567" y="455"/>
                  <a:pt x="550" y="455"/>
                  <a:pt x="535" y="460"/>
                </a:cubicBezTo>
                <a:cubicBezTo>
                  <a:pt x="528" y="462"/>
                  <a:pt x="518" y="519"/>
                  <a:pt x="507" y="536"/>
                </a:cubicBezTo>
                <a:cubicBezTo>
                  <a:pt x="506" y="575"/>
                  <a:pt x="518" y="618"/>
                  <a:pt x="499" y="652"/>
                </a:cubicBezTo>
                <a:cubicBezTo>
                  <a:pt x="494" y="660"/>
                  <a:pt x="486" y="667"/>
                  <a:pt x="483" y="676"/>
                </a:cubicBezTo>
                <a:cubicBezTo>
                  <a:pt x="479" y="688"/>
                  <a:pt x="477" y="702"/>
                  <a:pt x="467" y="712"/>
                </a:cubicBezTo>
                <a:cubicBezTo>
                  <a:pt x="450" y="729"/>
                  <a:pt x="434" y="729"/>
                  <a:pt x="415" y="740"/>
                </a:cubicBezTo>
                <a:cubicBezTo>
                  <a:pt x="407" y="745"/>
                  <a:pt x="391" y="756"/>
                  <a:pt x="391" y="756"/>
                </a:cubicBezTo>
                <a:cubicBezTo>
                  <a:pt x="373" y="784"/>
                  <a:pt x="378" y="771"/>
                  <a:pt x="371" y="792"/>
                </a:cubicBezTo>
                <a:cubicBezTo>
                  <a:pt x="373" y="824"/>
                  <a:pt x="373" y="850"/>
                  <a:pt x="383" y="880"/>
                </a:cubicBezTo>
                <a:cubicBezTo>
                  <a:pt x="382" y="885"/>
                  <a:pt x="384" y="894"/>
                  <a:pt x="379" y="896"/>
                </a:cubicBezTo>
                <a:cubicBezTo>
                  <a:pt x="374" y="898"/>
                  <a:pt x="374" y="887"/>
                  <a:pt x="371" y="884"/>
                </a:cubicBezTo>
                <a:cubicBezTo>
                  <a:pt x="361" y="874"/>
                  <a:pt x="344" y="868"/>
                  <a:pt x="331" y="864"/>
                </a:cubicBezTo>
                <a:cubicBezTo>
                  <a:pt x="319" y="827"/>
                  <a:pt x="315" y="837"/>
                  <a:pt x="283" y="816"/>
                </a:cubicBezTo>
                <a:cubicBezTo>
                  <a:pt x="278" y="800"/>
                  <a:pt x="261" y="785"/>
                  <a:pt x="247" y="776"/>
                </a:cubicBezTo>
                <a:cubicBezTo>
                  <a:pt x="240" y="749"/>
                  <a:pt x="227" y="715"/>
                  <a:pt x="255" y="696"/>
                </a:cubicBezTo>
                <a:cubicBezTo>
                  <a:pt x="250" y="651"/>
                  <a:pt x="250" y="657"/>
                  <a:pt x="219" y="636"/>
                </a:cubicBezTo>
                <a:cubicBezTo>
                  <a:pt x="215" y="541"/>
                  <a:pt x="233" y="557"/>
                  <a:pt x="183" y="524"/>
                </a:cubicBezTo>
                <a:cubicBezTo>
                  <a:pt x="179" y="511"/>
                  <a:pt x="178" y="496"/>
                  <a:pt x="171" y="484"/>
                </a:cubicBezTo>
                <a:cubicBezTo>
                  <a:pt x="164" y="472"/>
                  <a:pt x="145" y="462"/>
                  <a:pt x="135" y="452"/>
                </a:cubicBezTo>
                <a:cubicBezTo>
                  <a:pt x="98" y="457"/>
                  <a:pt x="87" y="469"/>
                  <a:pt x="55" y="480"/>
                </a:cubicBezTo>
                <a:cubicBezTo>
                  <a:pt x="42" y="479"/>
                  <a:pt x="22" y="488"/>
                  <a:pt x="15" y="476"/>
                </a:cubicBezTo>
                <a:cubicBezTo>
                  <a:pt x="0" y="449"/>
                  <a:pt x="23" y="404"/>
                  <a:pt x="39" y="380"/>
                </a:cubicBezTo>
                <a:cubicBezTo>
                  <a:pt x="40" y="375"/>
                  <a:pt x="39" y="368"/>
                  <a:pt x="43" y="364"/>
                </a:cubicBezTo>
                <a:cubicBezTo>
                  <a:pt x="49" y="359"/>
                  <a:pt x="67" y="356"/>
                  <a:pt x="67" y="356"/>
                </a:cubicBezTo>
                <a:cubicBezTo>
                  <a:pt x="80" y="336"/>
                  <a:pt x="96" y="319"/>
                  <a:pt x="111" y="300"/>
                </a:cubicBezTo>
                <a:cubicBezTo>
                  <a:pt x="123" y="284"/>
                  <a:pt x="127" y="267"/>
                  <a:pt x="143" y="256"/>
                </a:cubicBezTo>
                <a:cubicBezTo>
                  <a:pt x="156" y="236"/>
                  <a:pt x="162" y="213"/>
                  <a:pt x="179" y="196"/>
                </a:cubicBezTo>
                <a:cubicBezTo>
                  <a:pt x="184" y="181"/>
                  <a:pt x="194" y="177"/>
                  <a:pt x="203" y="164"/>
                </a:cubicBezTo>
                <a:cubicBezTo>
                  <a:pt x="210" y="136"/>
                  <a:pt x="216" y="108"/>
                  <a:pt x="223" y="80"/>
                </a:cubicBezTo>
                <a:cubicBezTo>
                  <a:pt x="226" y="47"/>
                  <a:pt x="219" y="12"/>
                  <a:pt x="255" y="0"/>
                </a:cubicBezTo>
                <a:cubicBezTo>
                  <a:pt x="382" y="4"/>
                  <a:pt x="400" y="18"/>
                  <a:pt x="515" y="4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00" name="Freeform 104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6181918" y="3001491"/>
            <a:ext cx="530469" cy="1138238"/>
          </a:xfrm>
          <a:custGeom>
            <a:avLst/>
            <a:gdLst>
              <a:gd name="T0" fmla="*/ 84 w 376"/>
              <a:gd name="T1" fmla="*/ 0 h 648"/>
              <a:gd name="T2" fmla="*/ 72 w 376"/>
              <a:gd name="T3" fmla="*/ 54 h 648"/>
              <a:gd name="T4" fmla="*/ 51 w 376"/>
              <a:gd name="T5" fmla="*/ 186 h 648"/>
              <a:gd name="T6" fmla="*/ 0 w 376"/>
              <a:gd name="T7" fmla="*/ 246 h 648"/>
              <a:gd name="T8" fmla="*/ 21 w 376"/>
              <a:gd name="T9" fmla="*/ 291 h 648"/>
              <a:gd name="T10" fmla="*/ 48 w 376"/>
              <a:gd name="T11" fmla="*/ 351 h 648"/>
              <a:gd name="T12" fmla="*/ 66 w 376"/>
              <a:gd name="T13" fmla="*/ 363 h 648"/>
              <a:gd name="T14" fmla="*/ 84 w 376"/>
              <a:gd name="T15" fmla="*/ 387 h 648"/>
              <a:gd name="T16" fmla="*/ 105 w 376"/>
              <a:gd name="T17" fmla="*/ 420 h 648"/>
              <a:gd name="T18" fmla="*/ 90 w 376"/>
              <a:gd name="T19" fmla="*/ 516 h 648"/>
              <a:gd name="T20" fmla="*/ 117 w 376"/>
              <a:gd name="T21" fmla="*/ 648 h 648"/>
              <a:gd name="T22" fmla="*/ 189 w 376"/>
              <a:gd name="T23" fmla="*/ 645 h 648"/>
              <a:gd name="T24" fmla="*/ 216 w 376"/>
              <a:gd name="T25" fmla="*/ 621 h 648"/>
              <a:gd name="T26" fmla="*/ 219 w 376"/>
              <a:gd name="T27" fmla="*/ 594 h 648"/>
              <a:gd name="T28" fmla="*/ 225 w 376"/>
              <a:gd name="T29" fmla="*/ 576 h 648"/>
              <a:gd name="T30" fmla="*/ 189 w 376"/>
              <a:gd name="T31" fmla="*/ 288 h 648"/>
              <a:gd name="T32" fmla="*/ 234 w 376"/>
              <a:gd name="T33" fmla="*/ 249 h 648"/>
              <a:gd name="T34" fmla="*/ 279 w 376"/>
              <a:gd name="T35" fmla="*/ 255 h 648"/>
              <a:gd name="T36" fmla="*/ 312 w 376"/>
              <a:gd name="T37" fmla="*/ 282 h 648"/>
              <a:gd name="T38" fmla="*/ 366 w 376"/>
              <a:gd name="T39" fmla="*/ 279 h 648"/>
              <a:gd name="T40" fmla="*/ 375 w 376"/>
              <a:gd name="T41" fmla="*/ 252 h 648"/>
              <a:gd name="T42" fmla="*/ 363 w 376"/>
              <a:gd name="T43" fmla="*/ 201 h 648"/>
              <a:gd name="T44" fmla="*/ 327 w 376"/>
              <a:gd name="T45" fmla="*/ 189 h 648"/>
              <a:gd name="T46" fmla="*/ 309 w 376"/>
              <a:gd name="T47" fmla="*/ 183 h 648"/>
              <a:gd name="T48" fmla="*/ 282 w 376"/>
              <a:gd name="T49" fmla="*/ 150 h 648"/>
              <a:gd name="T50" fmla="*/ 246 w 376"/>
              <a:gd name="T51" fmla="*/ 126 h 648"/>
              <a:gd name="T52" fmla="*/ 222 w 376"/>
              <a:gd name="T53" fmla="*/ 120 h 648"/>
              <a:gd name="T54" fmla="*/ 180 w 376"/>
              <a:gd name="T55" fmla="*/ 99 h 648"/>
              <a:gd name="T56" fmla="*/ 159 w 376"/>
              <a:gd name="T57" fmla="*/ 78 h 648"/>
              <a:gd name="T58" fmla="*/ 144 w 376"/>
              <a:gd name="T59" fmla="*/ 51 h 648"/>
              <a:gd name="T60" fmla="*/ 105 w 376"/>
              <a:gd name="T61" fmla="*/ 27 h 648"/>
              <a:gd name="T62" fmla="*/ 84 w 376"/>
              <a:gd name="T63" fmla="*/ 0 h 64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376"/>
              <a:gd name="T97" fmla="*/ 0 h 648"/>
              <a:gd name="T98" fmla="*/ 376 w 376"/>
              <a:gd name="T99" fmla="*/ 648 h 64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376" h="648">
                <a:moveTo>
                  <a:pt x="84" y="0"/>
                </a:moveTo>
                <a:cubicBezTo>
                  <a:pt x="78" y="18"/>
                  <a:pt x="76" y="35"/>
                  <a:pt x="72" y="54"/>
                </a:cubicBezTo>
                <a:cubicBezTo>
                  <a:pt x="71" y="79"/>
                  <a:pt x="88" y="161"/>
                  <a:pt x="51" y="186"/>
                </a:cubicBezTo>
                <a:cubicBezTo>
                  <a:pt x="37" y="207"/>
                  <a:pt x="22" y="232"/>
                  <a:pt x="0" y="246"/>
                </a:cubicBezTo>
                <a:cubicBezTo>
                  <a:pt x="3" y="275"/>
                  <a:pt x="0" y="277"/>
                  <a:pt x="21" y="291"/>
                </a:cubicBezTo>
                <a:cubicBezTo>
                  <a:pt x="35" y="312"/>
                  <a:pt x="19" y="341"/>
                  <a:pt x="48" y="351"/>
                </a:cubicBezTo>
                <a:cubicBezTo>
                  <a:pt x="63" y="374"/>
                  <a:pt x="43" y="348"/>
                  <a:pt x="66" y="363"/>
                </a:cubicBezTo>
                <a:cubicBezTo>
                  <a:pt x="76" y="369"/>
                  <a:pt x="73" y="380"/>
                  <a:pt x="84" y="387"/>
                </a:cubicBezTo>
                <a:cubicBezTo>
                  <a:pt x="88" y="400"/>
                  <a:pt x="100" y="405"/>
                  <a:pt x="105" y="420"/>
                </a:cubicBezTo>
                <a:cubicBezTo>
                  <a:pt x="103" y="463"/>
                  <a:pt x="112" y="486"/>
                  <a:pt x="90" y="516"/>
                </a:cubicBezTo>
                <a:cubicBezTo>
                  <a:pt x="80" y="556"/>
                  <a:pt x="85" y="616"/>
                  <a:pt x="117" y="648"/>
                </a:cubicBezTo>
                <a:cubicBezTo>
                  <a:pt x="149" y="645"/>
                  <a:pt x="158" y="642"/>
                  <a:pt x="189" y="645"/>
                </a:cubicBezTo>
                <a:cubicBezTo>
                  <a:pt x="208" y="641"/>
                  <a:pt x="208" y="638"/>
                  <a:pt x="216" y="621"/>
                </a:cubicBezTo>
                <a:cubicBezTo>
                  <a:pt x="217" y="612"/>
                  <a:pt x="217" y="603"/>
                  <a:pt x="219" y="594"/>
                </a:cubicBezTo>
                <a:cubicBezTo>
                  <a:pt x="220" y="588"/>
                  <a:pt x="225" y="576"/>
                  <a:pt x="225" y="576"/>
                </a:cubicBezTo>
                <a:cubicBezTo>
                  <a:pt x="229" y="482"/>
                  <a:pt x="244" y="371"/>
                  <a:pt x="189" y="288"/>
                </a:cubicBezTo>
                <a:cubicBezTo>
                  <a:pt x="195" y="260"/>
                  <a:pt x="212" y="260"/>
                  <a:pt x="234" y="249"/>
                </a:cubicBezTo>
                <a:cubicBezTo>
                  <a:pt x="249" y="250"/>
                  <a:pt x="268" y="244"/>
                  <a:pt x="279" y="255"/>
                </a:cubicBezTo>
                <a:cubicBezTo>
                  <a:pt x="295" y="271"/>
                  <a:pt x="281" y="276"/>
                  <a:pt x="312" y="282"/>
                </a:cubicBezTo>
                <a:cubicBezTo>
                  <a:pt x="330" y="281"/>
                  <a:pt x="349" y="285"/>
                  <a:pt x="366" y="279"/>
                </a:cubicBezTo>
                <a:cubicBezTo>
                  <a:pt x="375" y="276"/>
                  <a:pt x="375" y="252"/>
                  <a:pt x="375" y="252"/>
                </a:cubicBezTo>
                <a:cubicBezTo>
                  <a:pt x="374" y="237"/>
                  <a:pt x="376" y="214"/>
                  <a:pt x="363" y="201"/>
                </a:cubicBezTo>
                <a:cubicBezTo>
                  <a:pt x="354" y="192"/>
                  <a:pt x="339" y="193"/>
                  <a:pt x="327" y="189"/>
                </a:cubicBezTo>
                <a:cubicBezTo>
                  <a:pt x="321" y="187"/>
                  <a:pt x="309" y="183"/>
                  <a:pt x="309" y="183"/>
                </a:cubicBezTo>
                <a:cubicBezTo>
                  <a:pt x="301" y="172"/>
                  <a:pt x="295" y="154"/>
                  <a:pt x="282" y="150"/>
                </a:cubicBezTo>
                <a:cubicBezTo>
                  <a:pt x="271" y="139"/>
                  <a:pt x="261" y="130"/>
                  <a:pt x="246" y="126"/>
                </a:cubicBezTo>
                <a:cubicBezTo>
                  <a:pt x="238" y="124"/>
                  <a:pt x="222" y="120"/>
                  <a:pt x="222" y="120"/>
                </a:cubicBezTo>
                <a:cubicBezTo>
                  <a:pt x="209" y="111"/>
                  <a:pt x="194" y="105"/>
                  <a:pt x="180" y="99"/>
                </a:cubicBezTo>
                <a:cubicBezTo>
                  <a:pt x="176" y="86"/>
                  <a:pt x="168" y="89"/>
                  <a:pt x="159" y="78"/>
                </a:cubicBezTo>
                <a:cubicBezTo>
                  <a:pt x="153" y="70"/>
                  <a:pt x="152" y="57"/>
                  <a:pt x="144" y="51"/>
                </a:cubicBezTo>
                <a:cubicBezTo>
                  <a:pt x="133" y="42"/>
                  <a:pt x="117" y="35"/>
                  <a:pt x="105" y="27"/>
                </a:cubicBezTo>
                <a:cubicBezTo>
                  <a:pt x="97" y="4"/>
                  <a:pt x="90" y="31"/>
                  <a:pt x="84" y="0"/>
                </a:cubicBezTo>
                <a:close/>
              </a:path>
            </a:pathLst>
          </a:custGeom>
          <a:solidFill>
            <a:srgbClr val="FFCD0F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01" name="Freeform 105"/>
          <p:cNvSpPr>
            <a:spLocks/>
          </p:cNvSpPr>
          <p:nvPr>
            <p:custDataLst>
              <p:tags r:id="rId98"/>
            </p:custDataLst>
          </p:nvPr>
        </p:nvSpPr>
        <p:spPr bwMode="auto">
          <a:xfrm>
            <a:off x="3116333" y="3168179"/>
            <a:ext cx="741485" cy="685800"/>
          </a:xfrm>
          <a:custGeom>
            <a:avLst/>
            <a:gdLst>
              <a:gd name="T0" fmla="*/ 0 w 526"/>
              <a:gd name="T1" fmla="*/ 140 h 390"/>
              <a:gd name="T2" fmla="*/ 12 w 526"/>
              <a:gd name="T3" fmla="*/ 148 h 390"/>
              <a:gd name="T4" fmla="*/ 36 w 526"/>
              <a:gd name="T5" fmla="*/ 152 h 390"/>
              <a:gd name="T6" fmla="*/ 44 w 526"/>
              <a:gd name="T7" fmla="*/ 180 h 390"/>
              <a:gd name="T8" fmla="*/ 76 w 526"/>
              <a:gd name="T9" fmla="*/ 200 h 390"/>
              <a:gd name="T10" fmla="*/ 96 w 526"/>
              <a:gd name="T11" fmla="*/ 228 h 390"/>
              <a:gd name="T12" fmla="*/ 118 w 526"/>
              <a:gd name="T13" fmla="*/ 269 h 390"/>
              <a:gd name="T14" fmla="*/ 145 w 526"/>
              <a:gd name="T15" fmla="*/ 290 h 390"/>
              <a:gd name="T16" fmla="*/ 168 w 526"/>
              <a:gd name="T17" fmla="*/ 336 h 390"/>
              <a:gd name="T18" fmla="*/ 211 w 526"/>
              <a:gd name="T19" fmla="*/ 365 h 390"/>
              <a:gd name="T20" fmla="*/ 268 w 526"/>
              <a:gd name="T21" fmla="*/ 365 h 390"/>
              <a:gd name="T22" fmla="*/ 301 w 526"/>
              <a:gd name="T23" fmla="*/ 338 h 390"/>
              <a:gd name="T24" fmla="*/ 358 w 526"/>
              <a:gd name="T25" fmla="*/ 296 h 390"/>
              <a:gd name="T26" fmla="*/ 504 w 526"/>
              <a:gd name="T27" fmla="*/ 284 h 390"/>
              <a:gd name="T28" fmla="*/ 463 w 526"/>
              <a:gd name="T29" fmla="*/ 116 h 390"/>
              <a:gd name="T30" fmla="*/ 412 w 526"/>
              <a:gd name="T31" fmla="*/ 96 h 390"/>
              <a:gd name="T32" fmla="*/ 343 w 526"/>
              <a:gd name="T33" fmla="*/ 107 h 390"/>
              <a:gd name="T34" fmla="*/ 320 w 526"/>
              <a:gd name="T35" fmla="*/ 124 h 390"/>
              <a:gd name="T36" fmla="*/ 328 w 526"/>
              <a:gd name="T37" fmla="*/ 92 h 390"/>
              <a:gd name="T38" fmla="*/ 356 w 526"/>
              <a:gd name="T39" fmla="*/ 44 h 390"/>
              <a:gd name="T40" fmla="*/ 312 w 526"/>
              <a:gd name="T41" fmla="*/ 20 h 390"/>
              <a:gd name="T42" fmla="*/ 308 w 526"/>
              <a:gd name="T43" fmla="*/ 8 h 390"/>
              <a:gd name="T44" fmla="*/ 284 w 526"/>
              <a:gd name="T45" fmla="*/ 0 h 390"/>
              <a:gd name="T46" fmla="*/ 220 w 526"/>
              <a:gd name="T47" fmla="*/ 24 h 390"/>
              <a:gd name="T48" fmla="*/ 172 w 526"/>
              <a:gd name="T49" fmla="*/ 36 h 390"/>
              <a:gd name="T50" fmla="*/ 100 w 526"/>
              <a:gd name="T51" fmla="*/ 56 h 390"/>
              <a:gd name="T52" fmla="*/ 64 w 526"/>
              <a:gd name="T53" fmla="*/ 72 h 390"/>
              <a:gd name="T54" fmla="*/ 8 w 526"/>
              <a:gd name="T55" fmla="*/ 116 h 390"/>
              <a:gd name="T56" fmla="*/ 0 w 526"/>
              <a:gd name="T57" fmla="*/ 140 h 390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526"/>
              <a:gd name="T88" fmla="*/ 0 h 390"/>
              <a:gd name="T89" fmla="*/ 526 w 526"/>
              <a:gd name="T90" fmla="*/ 390 h 390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526" h="390">
                <a:moveTo>
                  <a:pt x="0" y="140"/>
                </a:moveTo>
                <a:cubicBezTo>
                  <a:pt x="4" y="143"/>
                  <a:pt x="7" y="146"/>
                  <a:pt x="12" y="148"/>
                </a:cubicBezTo>
                <a:cubicBezTo>
                  <a:pt x="20" y="151"/>
                  <a:pt x="29" y="148"/>
                  <a:pt x="36" y="152"/>
                </a:cubicBezTo>
                <a:cubicBezTo>
                  <a:pt x="44" y="157"/>
                  <a:pt x="38" y="172"/>
                  <a:pt x="44" y="180"/>
                </a:cubicBezTo>
                <a:cubicBezTo>
                  <a:pt x="50" y="188"/>
                  <a:pt x="67" y="198"/>
                  <a:pt x="76" y="200"/>
                </a:cubicBezTo>
                <a:cubicBezTo>
                  <a:pt x="87" y="217"/>
                  <a:pt x="76" y="221"/>
                  <a:pt x="96" y="228"/>
                </a:cubicBezTo>
                <a:cubicBezTo>
                  <a:pt x="106" y="243"/>
                  <a:pt x="94" y="230"/>
                  <a:pt x="118" y="269"/>
                </a:cubicBezTo>
                <a:cubicBezTo>
                  <a:pt x="142" y="284"/>
                  <a:pt x="124" y="286"/>
                  <a:pt x="145" y="290"/>
                </a:cubicBezTo>
                <a:cubicBezTo>
                  <a:pt x="148" y="307"/>
                  <a:pt x="158" y="322"/>
                  <a:pt x="168" y="336"/>
                </a:cubicBezTo>
                <a:cubicBezTo>
                  <a:pt x="173" y="343"/>
                  <a:pt x="211" y="365"/>
                  <a:pt x="211" y="365"/>
                </a:cubicBezTo>
                <a:cubicBezTo>
                  <a:pt x="228" y="390"/>
                  <a:pt x="214" y="374"/>
                  <a:pt x="268" y="365"/>
                </a:cubicBezTo>
                <a:cubicBezTo>
                  <a:pt x="298" y="360"/>
                  <a:pt x="281" y="348"/>
                  <a:pt x="301" y="338"/>
                </a:cubicBezTo>
                <a:cubicBezTo>
                  <a:pt x="319" y="329"/>
                  <a:pt x="338" y="301"/>
                  <a:pt x="358" y="296"/>
                </a:cubicBezTo>
                <a:cubicBezTo>
                  <a:pt x="427" y="257"/>
                  <a:pt x="405" y="287"/>
                  <a:pt x="504" y="284"/>
                </a:cubicBezTo>
                <a:cubicBezTo>
                  <a:pt x="526" y="146"/>
                  <a:pt x="520" y="176"/>
                  <a:pt x="463" y="116"/>
                </a:cubicBezTo>
                <a:cubicBezTo>
                  <a:pt x="452" y="99"/>
                  <a:pt x="445" y="107"/>
                  <a:pt x="412" y="96"/>
                </a:cubicBezTo>
                <a:cubicBezTo>
                  <a:pt x="388" y="98"/>
                  <a:pt x="367" y="100"/>
                  <a:pt x="343" y="107"/>
                </a:cubicBezTo>
                <a:cubicBezTo>
                  <a:pt x="334" y="110"/>
                  <a:pt x="320" y="124"/>
                  <a:pt x="320" y="124"/>
                </a:cubicBezTo>
                <a:cubicBezTo>
                  <a:pt x="290" y="114"/>
                  <a:pt x="312" y="97"/>
                  <a:pt x="328" y="92"/>
                </a:cubicBezTo>
                <a:cubicBezTo>
                  <a:pt x="339" y="75"/>
                  <a:pt x="350" y="62"/>
                  <a:pt x="356" y="44"/>
                </a:cubicBezTo>
                <a:cubicBezTo>
                  <a:pt x="348" y="14"/>
                  <a:pt x="338" y="29"/>
                  <a:pt x="312" y="20"/>
                </a:cubicBezTo>
                <a:cubicBezTo>
                  <a:pt x="311" y="16"/>
                  <a:pt x="311" y="10"/>
                  <a:pt x="308" y="8"/>
                </a:cubicBezTo>
                <a:cubicBezTo>
                  <a:pt x="301" y="3"/>
                  <a:pt x="284" y="0"/>
                  <a:pt x="284" y="0"/>
                </a:cubicBezTo>
                <a:cubicBezTo>
                  <a:pt x="255" y="5"/>
                  <a:pt x="245" y="7"/>
                  <a:pt x="220" y="24"/>
                </a:cubicBezTo>
                <a:cubicBezTo>
                  <a:pt x="207" y="33"/>
                  <a:pt x="186" y="32"/>
                  <a:pt x="172" y="36"/>
                </a:cubicBezTo>
                <a:cubicBezTo>
                  <a:pt x="147" y="42"/>
                  <a:pt x="126" y="52"/>
                  <a:pt x="100" y="56"/>
                </a:cubicBezTo>
                <a:cubicBezTo>
                  <a:pt x="89" y="63"/>
                  <a:pt x="64" y="72"/>
                  <a:pt x="64" y="72"/>
                </a:cubicBezTo>
                <a:cubicBezTo>
                  <a:pt x="37" y="92"/>
                  <a:pt x="32" y="108"/>
                  <a:pt x="8" y="116"/>
                </a:cubicBezTo>
                <a:cubicBezTo>
                  <a:pt x="5" y="124"/>
                  <a:pt x="3" y="132"/>
                  <a:pt x="0" y="140"/>
                </a:cubicBezTo>
                <a:close/>
              </a:path>
            </a:pathLst>
          </a:custGeom>
          <a:solidFill>
            <a:srgbClr val="FFCD0F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02" name="Freeform 106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2547762" y="2534766"/>
            <a:ext cx="505558" cy="806450"/>
          </a:xfrm>
          <a:custGeom>
            <a:avLst/>
            <a:gdLst>
              <a:gd name="T0" fmla="*/ 17 w 359"/>
              <a:gd name="T1" fmla="*/ 69 h 459"/>
              <a:gd name="T2" fmla="*/ 80 w 359"/>
              <a:gd name="T3" fmla="*/ 45 h 459"/>
              <a:gd name="T4" fmla="*/ 95 w 359"/>
              <a:gd name="T5" fmla="*/ 0 h 459"/>
              <a:gd name="T6" fmla="*/ 104 w 359"/>
              <a:gd name="T7" fmla="*/ 6 h 459"/>
              <a:gd name="T8" fmla="*/ 137 w 359"/>
              <a:gd name="T9" fmla="*/ 9 h 459"/>
              <a:gd name="T10" fmla="*/ 140 w 359"/>
              <a:gd name="T11" fmla="*/ 24 h 459"/>
              <a:gd name="T12" fmla="*/ 167 w 359"/>
              <a:gd name="T13" fmla="*/ 45 h 459"/>
              <a:gd name="T14" fmla="*/ 191 w 359"/>
              <a:gd name="T15" fmla="*/ 63 h 459"/>
              <a:gd name="T16" fmla="*/ 194 w 359"/>
              <a:gd name="T17" fmla="*/ 72 h 459"/>
              <a:gd name="T18" fmla="*/ 212 w 359"/>
              <a:gd name="T19" fmla="*/ 75 h 459"/>
              <a:gd name="T20" fmla="*/ 230 w 359"/>
              <a:gd name="T21" fmla="*/ 105 h 459"/>
              <a:gd name="T22" fmla="*/ 302 w 359"/>
              <a:gd name="T23" fmla="*/ 222 h 459"/>
              <a:gd name="T24" fmla="*/ 335 w 359"/>
              <a:gd name="T25" fmla="*/ 234 h 459"/>
              <a:gd name="T26" fmla="*/ 359 w 359"/>
              <a:gd name="T27" fmla="*/ 264 h 459"/>
              <a:gd name="T28" fmla="*/ 335 w 359"/>
              <a:gd name="T29" fmla="*/ 294 h 459"/>
              <a:gd name="T30" fmla="*/ 317 w 359"/>
              <a:gd name="T31" fmla="*/ 327 h 459"/>
              <a:gd name="T32" fmla="*/ 290 w 359"/>
              <a:gd name="T33" fmla="*/ 336 h 459"/>
              <a:gd name="T34" fmla="*/ 272 w 359"/>
              <a:gd name="T35" fmla="*/ 378 h 459"/>
              <a:gd name="T36" fmla="*/ 257 w 359"/>
              <a:gd name="T37" fmla="*/ 459 h 459"/>
              <a:gd name="T38" fmla="*/ 245 w 359"/>
              <a:gd name="T39" fmla="*/ 432 h 459"/>
              <a:gd name="T40" fmla="*/ 227 w 359"/>
              <a:gd name="T41" fmla="*/ 366 h 459"/>
              <a:gd name="T42" fmla="*/ 194 w 359"/>
              <a:gd name="T43" fmla="*/ 297 h 459"/>
              <a:gd name="T44" fmla="*/ 176 w 359"/>
              <a:gd name="T45" fmla="*/ 273 h 459"/>
              <a:gd name="T46" fmla="*/ 158 w 359"/>
              <a:gd name="T47" fmla="*/ 249 h 459"/>
              <a:gd name="T48" fmla="*/ 152 w 359"/>
              <a:gd name="T49" fmla="*/ 240 h 459"/>
              <a:gd name="T50" fmla="*/ 143 w 359"/>
              <a:gd name="T51" fmla="*/ 237 h 459"/>
              <a:gd name="T52" fmla="*/ 128 w 359"/>
              <a:gd name="T53" fmla="*/ 210 h 459"/>
              <a:gd name="T54" fmla="*/ 65 w 359"/>
              <a:gd name="T55" fmla="*/ 141 h 459"/>
              <a:gd name="T56" fmla="*/ 17 w 359"/>
              <a:gd name="T57" fmla="*/ 69 h 45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359"/>
              <a:gd name="T88" fmla="*/ 0 h 459"/>
              <a:gd name="T89" fmla="*/ 359 w 359"/>
              <a:gd name="T90" fmla="*/ 459 h 45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359" h="459">
                <a:moveTo>
                  <a:pt x="17" y="69"/>
                </a:moveTo>
                <a:cubicBezTo>
                  <a:pt x="39" y="62"/>
                  <a:pt x="57" y="49"/>
                  <a:pt x="80" y="45"/>
                </a:cubicBezTo>
                <a:cubicBezTo>
                  <a:pt x="82" y="23"/>
                  <a:pt x="78" y="11"/>
                  <a:pt x="95" y="0"/>
                </a:cubicBezTo>
                <a:cubicBezTo>
                  <a:pt x="98" y="2"/>
                  <a:pt x="100" y="5"/>
                  <a:pt x="104" y="6"/>
                </a:cubicBezTo>
                <a:cubicBezTo>
                  <a:pt x="115" y="8"/>
                  <a:pt x="127" y="4"/>
                  <a:pt x="137" y="9"/>
                </a:cubicBezTo>
                <a:cubicBezTo>
                  <a:pt x="142" y="11"/>
                  <a:pt x="137" y="20"/>
                  <a:pt x="140" y="24"/>
                </a:cubicBezTo>
                <a:cubicBezTo>
                  <a:pt x="144" y="31"/>
                  <a:pt x="160" y="41"/>
                  <a:pt x="167" y="45"/>
                </a:cubicBezTo>
                <a:cubicBezTo>
                  <a:pt x="172" y="59"/>
                  <a:pt x="177" y="60"/>
                  <a:pt x="191" y="63"/>
                </a:cubicBezTo>
                <a:cubicBezTo>
                  <a:pt x="192" y="66"/>
                  <a:pt x="192" y="70"/>
                  <a:pt x="194" y="72"/>
                </a:cubicBezTo>
                <a:cubicBezTo>
                  <a:pt x="196" y="74"/>
                  <a:pt x="210" y="73"/>
                  <a:pt x="212" y="75"/>
                </a:cubicBezTo>
                <a:cubicBezTo>
                  <a:pt x="227" y="94"/>
                  <a:pt x="215" y="87"/>
                  <a:pt x="230" y="105"/>
                </a:cubicBezTo>
                <a:cubicBezTo>
                  <a:pt x="257" y="159"/>
                  <a:pt x="242" y="189"/>
                  <a:pt x="302" y="222"/>
                </a:cubicBezTo>
                <a:cubicBezTo>
                  <a:pt x="313" y="230"/>
                  <a:pt x="321" y="231"/>
                  <a:pt x="335" y="234"/>
                </a:cubicBezTo>
                <a:cubicBezTo>
                  <a:pt x="338" y="244"/>
                  <a:pt x="356" y="249"/>
                  <a:pt x="359" y="264"/>
                </a:cubicBezTo>
                <a:cubicBezTo>
                  <a:pt x="356" y="281"/>
                  <a:pt x="351" y="289"/>
                  <a:pt x="335" y="294"/>
                </a:cubicBezTo>
                <a:cubicBezTo>
                  <a:pt x="329" y="303"/>
                  <a:pt x="325" y="322"/>
                  <a:pt x="317" y="327"/>
                </a:cubicBezTo>
                <a:cubicBezTo>
                  <a:pt x="309" y="333"/>
                  <a:pt x="290" y="336"/>
                  <a:pt x="290" y="336"/>
                </a:cubicBezTo>
                <a:cubicBezTo>
                  <a:pt x="282" y="348"/>
                  <a:pt x="277" y="364"/>
                  <a:pt x="272" y="378"/>
                </a:cubicBezTo>
                <a:cubicBezTo>
                  <a:pt x="269" y="407"/>
                  <a:pt x="263" y="431"/>
                  <a:pt x="257" y="459"/>
                </a:cubicBezTo>
                <a:cubicBezTo>
                  <a:pt x="252" y="451"/>
                  <a:pt x="245" y="432"/>
                  <a:pt x="245" y="432"/>
                </a:cubicBezTo>
                <a:cubicBezTo>
                  <a:pt x="243" y="410"/>
                  <a:pt x="247" y="380"/>
                  <a:pt x="227" y="366"/>
                </a:cubicBezTo>
                <a:cubicBezTo>
                  <a:pt x="221" y="349"/>
                  <a:pt x="208" y="307"/>
                  <a:pt x="194" y="297"/>
                </a:cubicBezTo>
                <a:cubicBezTo>
                  <a:pt x="187" y="286"/>
                  <a:pt x="187" y="280"/>
                  <a:pt x="176" y="273"/>
                </a:cubicBezTo>
                <a:cubicBezTo>
                  <a:pt x="172" y="261"/>
                  <a:pt x="168" y="256"/>
                  <a:pt x="158" y="249"/>
                </a:cubicBezTo>
                <a:cubicBezTo>
                  <a:pt x="156" y="246"/>
                  <a:pt x="155" y="242"/>
                  <a:pt x="152" y="240"/>
                </a:cubicBezTo>
                <a:cubicBezTo>
                  <a:pt x="150" y="238"/>
                  <a:pt x="145" y="239"/>
                  <a:pt x="143" y="237"/>
                </a:cubicBezTo>
                <a:cubicBezTo>
                  <a:pt x="136" y="230"/>
                  <a:pt x="134" y="219"/>
                  <a:pt x="128" y="210"/>
                </a:cubicBezTo>
                <a:cubicBezTo>
                  <a:pt x="111" y="184"/>
                  <a:pt x="91" y="158"/>
                  <a:pt x="65" y="141"/>
                </a:cubicBezTo>
                <a:cubicBezTo>
                  <a:pt x="51" y="120"/>
                  <a:pt x="0" y="103"/>
                  <a:pt x="17" y="69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03" name="Freeform 107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2316231" y="1760070"/>
            <a:ext cx="480646" cy="900113"/>
          </a:xfrm>
          <a:custGeom>
            <a:avLst/>
            <a:gdLst>
              <a:gd name="T0" fmla="*/ 36 w 340"/>
              <a:gd name="T1" fmla="*/ 250 h 513"/>
              <a:gd name="T2" fmla="*/ 24 w 340"/>
              <a:gd name="T3" fmla="*/ 199 h 513"/>
              <a:gd name="T4" fmla="*/ 18 w 340"/>
              <a:gd name="T5" fmla="*/ 175 h 513"/>
              <a:gd name="T6" fmla="*/ 16 w 340"/>
              <a:gd name="T7" fmla="*/ 153 h 513"/>
              <a:gd name="T8" fmla="*/ 18 w 340"/>
              <a:gd name="T9" fmla="*/ 139 h 513"/>
              <a:gd name="T10" fmla="*/ 27 w 340"/>
              <a:gd name="T11" fmla="*/ 117 h 513"/>
              <a:gd name="T12" fmla="*/ 18 w 340"/>
              <a:gd name="T13" fmla="*/ 97 h 513"/>
              <a:gd name="T14" fmla="*/ 3 w 340"/>
              <a:gd name="T15" fmla="*/ 79 h 513"/>
              <a:gd name="T16" fmla="*/ 2 w 340"/>
              <a:gd name="T17" fmla="*/ 57 h 513"/>
              <a:gd name="T18" fmla="*/ 16 w 340"/>
              <a:gd name="T19" fmla="*/ 27 h 513"/>
              <a:gd name="T20" fmla="*/ 30 w 340"/>
              <a:gd name="T21" fmla="*/ 4 h 513"/>
              <a:gd name="T22" fmla="*/ 60 w 340"/>
              <a:gd name="T23" fmla="*/ 3 h 513"/>
              <a:gd name="T24" fmla="*/ 64 w 340"/>
              <a:gd name="T25" fmla="*/ 25 h 513"/>
              <a:gd name="T26" fmla="*/ 96 w 340"/>
              <a:gd name="T27" fmla="*/ 33 h 513"/>
              <a:gd name="T28" fmla="*/ 112 w 340"/>
              <a:gd name="T29" fmla="*/ 47 h 513"/>
              <a:gd name="T30" fmla="*/ 130 w 340"/>
              <a:gd name="T31" fmla="*/ 63 h 513"/>
              <a:gd name="T32" fmla="*/ 170 w 340"/>
              <a:gd name="T33" fmla="*/ 89 h 513"/>
              <a:gd name="T34" fmla="*/ 212 w 340"/>
              <a:gd name="T35" fmla="*/ 117 h 513"/>
              <a:gd name="T36" fmla="*/ 260 w 340"/>
              <a:gd name="T37" fmla="*/ 155 h 513"/>
              <a:gd name="T38" fmla="*/ 280 w 340"/>
              <a:gd name="T39" fmla="*/ 185 h 513"/>
              <a:gd name="T40" fmla="*/ 292 w 340"/>
              <a:gd name="T41" fmla="*/ 213 h 513"/>
              <a:gd name="T42" fmla="*/ 306 w 340"/>
              <a:gd name="T43" fmla="*/ 219 h 513"/>
              <a:gd name="T44" fmla="*/ 326 w 340"/>
              <a:gd name="T45" fmla="*/ 219 h 513"/>
              <a:gd name="T46" fmla="*/ 322 w 340"/>
              <a:gd name="T47" fmla="*/ 239 h 513"/>
              <a:gd name="T48" fmla="*/ 330 w 340"/>
              <a:gd name="T49" fmla="*/ 270 h 513"/>
              <a:gd name="T50" fmla="*/ 336 w 340"/>
              <a:gd name="T51" fmla="*/ 315 h 513"/>
              <a:gd name="T52" fmla="*/ 323 w 340"/>
              <a:gd name="T53" fmla="*/ 345 h 513"/>
              <a:gd name="T54" fmla="*/ 312 w 340"/>
              <a:gd name="T55" fmla="*/ 366 h 513"/>
              <a:gd name="T56" fmla="*/ 302 w 340"/>
              <a:gd name="T57" fmla="*/ 403 h 513"/>
              <a:gd name="T58" fmla="*/ 298 w 340"/>
              <a:gd name="T59" fmla="*/ 429 h 513"/>
              <a:gd name="T60" fmla="*/ 299 w 340"/>
              <a:gd name="T61" fmla="*/ 454 h 513"/>
              <a:gd name="T62" fmla="*/ 278 w 340"/>
              <a:gd name="T63" fmla="*/ 455 h 513"/>
              <a:gd name="T64" fmla="*/ 270 w 340"/>
              <a:gd name="T65" fmla="*/ 447 h 513"/>
              <a:gd name="T66" fmla="*/ 256 w 340"/>
              <a:gd name="T67" fmla="*/ 439 h 513"/>
              <a:gd name="T68" fmla="*/ 244 w 340"/>
              <a:gd name="T69" fmla="*/ 455 h 513"/>
              <a:gd name="T70" fmla="*/ 242 w 340"/>
              <a:gd name="T71" fmla="*/ 485 h 513"/>
              <a:gd name="T72" fmla="*/ 226 w 340"/>
              <a:gd name="T73" fmla="*/ 487 h 513"/>
              <a:gd name="T74" fmla="*/ 197 w 340"/>
              <a:gd name="T75" fmla="*/ 505 h 513"/>
              <a:gd name="T76" fmla="*/ 178 w 340"/>
              <a:gd name="T77" fmla="*/ 513 h 513"/>
              <a:gd name="T78" fmla="*/ 162 w 340"/>
              <a:gd name="T79" fmla="*/ 491 h 513"/>
              <a:gd name="T80" fmla="*/ 156 w 340"/>
              <a:gd name="T81" fmla="*/ 457 h 513"/>
              <a:gd name="T82" fmla="*/ 143 w 340"/>
              <a:gd name="T83" fmla="*/ 417 h 513"/>
              <a:gd name="T84" fmla="*/ 134 w 340"/>
              <a:gd name="T85" fmla="*/ 383 h 513"/>
              <a:gd name="T86" fmla="*/ 104 w 340"/>
              <a:gd name="T87" fmla="*/ 345 h 513"/>
              <a:gd name="T88" fmla="*/ 77 w 340"/>
              <a:gd name="T89" fmla="*/ 322 h 513"/>
              <a:gd name="T90" fmla="*/ 63 w 340"/>
              <a:gd name="T91" fmla="*/ 315 h 513"/>
              <a:gd name="T92" fmla="*/ 28 w 340"/>
              <a:gd name="T93" fmla="*/ 303 h 513"/>
              <a:gd name="T94" fmla="*/ 34 w 340"/>
              <a:gd name="T95" fmla="*/ 277 h 513"/>
              <a:gd name="T96" fmla="*/ 36 w 340"/>
              <a:gd name="T97" fmla="*/ 250 h 51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40"/>
              <a:gd name="T148" fmla="*/ 0 h 513"/>
              <a:gd name="T149" fmla="*/ 340 w 340"/>
              <a:gd name="T150" fmla="*/ 513 h 513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40" h="513">
                <a:moveTo>
                  <a:pt x="36" y="250"/>
                </a:moveTo>
                <a:cubicBezTo>
                  <a:pt x="33" y="234"/>
                  <a:pt x="38" y="208"/>
                  <a:pt x="24" y="199"/>
                </a:cubicBezTo>
                <a:cubicBezTo>
                  <a:pt x="22" y="193"/>
                  <a:pt x="18" y="175"/>
                  <a:pt x="18" y="175"/>
                </a:cubicBezTo>
                <a:cubicBezTo>
                  <a:pt x="15" y="167"/>
                  <a:pt x="16" y="159"/>
                  <a:pt x="16" y="153"/>
                </a:cubicBezTo>
                <a:cubicBezTo>
                  <a:pt x="16" y="147"/>
                  <a:pt x="16" y="145"/>
                  <a:pt x="18" y="139"/>
                </a:cubicBezTo>
                <a:cubicBezTo>
                  <a:pt x="20" y="131"/>
                  <a:pt x="27" y="124"/>
                  <a:pt x="27" y="117"/>
                </a:cubicBezTo>
                <a:cubicBezTo>
                  <a:pt x="27" y="110"/>
                  <a:pt x="22" y="103"/>
                  <a:pt x="18" y="97"/>
                </a:cubicBezTo>
                <a:cubicBezTo>
                  <a:pt x="15" y="88"/>
                  <a:pt x="10" y="84"/>
                  <a:pt x="3" y="79"/>
                </a:cubicBezTo>
                <a:cubicBezTo>
                  <a:pt x="0" y="73"/>
                  <a:pt x="0" y="66"/>
                  <a:pt x="2" y="57"/>
                </a:cubicBezTo>
                <a:cubicBezTo>
                  <a:pt x="4" y="48"/>
                  <a:pt x="11" y="36"/>
                  <a:pt x="16" y="27"/>
                </a:cubicBezTo>
                <a:cubicBezTo>
                  <a:pt x="21" y="18"/>
                  <a:pt x="23" y="8"/>
                  <a:pt x="30" y="4"/>
                </a:cubicBezTo>
                <a:cubicBezTo>
                  <a:pt x="37" y="0"/>
                  <a:pt x="54" y="0"/>
                  <a:pt x="60" y="3"/>
                </a:cubicBezTo>
                <a:cubicBezTo>
                  <a:pt x="66" y="6"/>
                  <a:pt x="58" y="20"/>
                  <a:pt x="64" y="25"/>
                </a:cubicBezTo>
                <a:cubicBezTo>
                  <a:pt x="83" y="27"/>
                  <a:pt x="82" y="24"/>
                  <a:pt x="96" y="33"/>
                </a:cubicBezTo>
                <a:cubicBezTo>
                  <a:pt x="103" y="36"/>
                  <a:pt x="106" y="42"/>
                  <a:pt x="112" y="47"/>
                </a:cubicBezTo>
                <a:cubicBezTo>
                  <a:pt x="118" y="52"/>
                  <a:pt x="120" y="56"/>
                  <a:pt x="130" y="63"/>
                </a:cubicBezTo>
                <a:cubicBezTo>
                  <a:pt x="140" y="79"/>
                  <a:pt x="152" y="85"/>
                  <a:pt x="170" y="89"/>
                </a:cubicBezTo>
                <a:cubicBezTo>
                  <a:pt x="179" y="96"/>
                  <a:pt x="201" y="113"/>
                  <a:pt x="212" y="117"/>
                </a:cubicBezTo>
                <a:cubicBezTo>
                  <a:pt x="223" y="128"/>
                  <a:pt x="246" y="150"/>
                  <a:pt x="260" y="155"/>
                </a:cubicBezTo>
                <a:cubicBezTo>
                  <a:pt x="271" y="171"/>
                  <a:pt x="274" y="163"/>
                  <a:pt x="280" y="185"/>
                </a:cubicBezTo>
                <a:cubicBezTo>
                  <a:pt x="289" y="195"/>
                  <a:pt x="288" y="207"/>
                  <a:pt x="292" y="213"/>
                </a:cubicBezTo>
                <a:cubicBezTo>
                  <a:pt x="296" y="219"/>
                  <a:pt x="300" y="218"/>
                  <a:pt x="306" y="219"/>
                </a:cubicBezTo>
                <a:cubicBezTo>
                  <a:pt x="308" y="222"/>
                  <a:pt x="323" y="216"/>
                  <a:pt x="326" y="219"/>
                </a:cubicBezTo>
                <a:cubicBezTo>
                  <a:pt x="329" y="222"/>
                  <a:pt x="321" y="231"/>
                  <a:pt x="322" y="239"/>
                </a:cubicBezTo>
                <a:cubicBezTo>
                  <a:pt x="323" y="247"/>
                  <a:pt x="328" y="257"/>
                  <a:pt x="330" y="270"/>
                </a:cubicBezTo>
                <a:cubicBezTo>
                  <a:pt x="331" y="298"/>
                  <a:pt x="340" y="288"/>
                  <a:pt x="336" y="315"/>
                </a:cubicBezTo>
                <a:cubicBezTo>
                  <a:pt x="340" y="307"/>
                  <a:pt x="325" y="336"/>
                  <a:pt x="323" y="345"/>
                </a:cubicBezTo>
                <a:cubicBezTo>
                  <a:pt x="322" y="349"/>
                  <a:pt x="315" y="361"/>
                  <a:pt x="312" y="366"/>
                </a:cubicBezTo>
                <a:cubicBezTo>
                  <a:pt x="304" y="380"/>
                  <a:pt x="307" y="387"/>
                  <a:pt x="302" y="403"/>
                </a:cubicBezTo>
                <a:cubicBezTo>
                  <a:pt x="309" y="418"/>
                  <a:pt x="293" y="412"/>
                  <a:pt x="298" y="429"/>
                </a:cubicBezTo>
                <a:cubicBezTo>
                  <a:pt x="299" y="433"/>
                  <a:pt x="299" y="454"/>
                  <a:pt x="299" y="454"/>
                </a:cubicBezTo>
                <a:cubicBezTo>
                  <a:pt x="296" y="460"/>
                  <a:pt x="283" y="456"/>
                  <a:pt x="278" y="455"/>
                </a:cubicBezTo>
                <a:cubicBezTo>
                  <a:pt x="273" y="454"/>
                  <a:pt x="274" y="450"/>
                  <a:pt x="270" y="447"/>
                </a:cubicBezTo>
                <a:cubicBezTo>
                  <a:pt x="264" y="445"/>
                  <a:pt x="260" y="438"/>
                  <a:pt x="256" y="439"/>
                </a:cubicBezTo>
                <a:cubicBezTo>
                  <a:pt x="252" y="440"/>
                  <a:pt x="246" y="447"/>
                  <a:pt x="244" y="455"/>
                </a:cubicBezTo>
                <a:cubicBezTo>
                  <a:pt x="240" y="460"/>
                  <a:pt x="245" y="480"/>
                  <a:pt x="242" y="485"/>
                </a:cubicBezTo>
                <a:cubicBezTo>
                  <a:pt x="239" y="490"/>
                  <a:pt x="233" y="484"/>
                  <a:pt x="226" y="487"/>
                </a:cubicBezTo>
                <a:cubicBezTo>
                  <a:pt x="219" y="490"/>
                  <a:pt x="205" y="501"/>
                  <a:pt x="197" y="505"/>
                </a:cubicBezTo>
                <a:cubicBezTo>
                  <a:pt x="184" y="509"/>
                  <a:pt x="189" y="506"/>
                  <a:pt x="178" y="513"/>
                </a:cubicBezTo>
                <a:cubicBezTo>
                  <a:pt x="170" y="502"/>
                  <a:pt x="176" y="511"/>
                  <a:pt x="162" y="491"/>
                </a:cubicBezTo>
                <a:cubicBezTo>
                  <a:pt x="162" y="495"/>
                  <a:pt x="160" y="461"/>
                  <a:pt x="156" y="457"/>
                </a:cubicBezTo>
                <a:cubicBezTo>
                  <a:pt x="153" y="448"/>
                  <a:pt x="153" y="429"/>
                  <a:pt x="143" y="417"/>
                </a:cubicBezTo>
                <a:cubicBezTo>
                  <a:pt x="142" y="402"/>
                  <a:pt x="142" y="395"/>
                  <a:pt x="134" y="383"/>
                </a:cubicBezTo>
                <a:cubicBezTo>
                  <a:pt x="133" y="364"/>
                  <a:pt x="121" y="355"/>
                  <a:pt x="104" y="345"/>
                </a:cubicBezTo>
                <a:cubicBezTo>
                  <a:pt x="96" y="330"/>
                  <a:pt x="84" y="328"/>
                  <a:pt x="77" y="322"/>
                </a:cubicBezTo>
                <a:cubicBezTo>
                  <a:pt x="70" y="317"/>
                  <a:pt x="71" y="318"/>
                  <a:pt x="63" y="315"/>
                </a:cubicBezTo>
                <a:cubicBezTo>
                  <a:pt x="55" y="311"/>
                  <a:pt x="33" y="309"/>
                  <a:pt x="28" y="303"/>
                </a:cubicBezTo>
                <a:cubicBezTo>
                  <a:pt x="23" y="297"/>
                  <a:pt x="33" y="286"/>
                  <a:pt x="34" y="277"/>
                </a:cubicBezTo>
                <a:cubicBezTo>
                  <a:pt x="35" y="268"/>
                  <a:pt x="34" y="258"/>
                  <a:pt x="36" y="250"/>
                </a:cubicBezTo>
                <a:close/>
              </a:path>
            </a:pathLst>
          </a:custGeom>
          <a:solidFill>
            <a:srgbClr val="08205C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04" name="Freeform 108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2310371" y="1734670"/>
            <a:ext cx="108438" cy="542925"/>
          </a:xfrm>
          <a:custGeom>
            <a:avLst/>
            <a:gdLst>
              <a:gd name="T0" fmla="*/ 77 w 77"/>
              <a:gd name="T1" fmla="*/ 0 h 309"/>
              <a:gd name="T2" fmla="*/ 23 w 77"/>
              <a:gd name="T3" fmla="*/ 34 h 309"/>
              <a:gd name="T4" fmla="*/ 7 w 77"/>
              <a:gd name="T5" fmla="*/ 62 h 309"/>
              <a:gd name="T6" fmla="*/ 27 w 77"/>
              <a:gd name="T7" fmla="*/ 118 h 309"/>
              <a:gd name="T8" fmla="*/ 15 w 77"/>
              <a:gd name="T9" fmla="*/ 174 h 309"/>
              <a:gd name="T10" fmla="*/ 43 w 77"/>
              <a:gd name="T11" fmla="*/ 244 h 309"/>
              <a:gd name="T12" fmla="*/ 39 w 77"/>
              <a:gd name="T13" fmla="*/ 282 h 309"/>
              <a:gd name="T14" fmla="*/ 31 w 77"/>
              <a:gd name="T15" fmla="*/ 309 h 30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77"/>
              <a:gd name="T25" fmla="*/ 0 h 309"/>
              <a:gd name="T26" fmla="*/ 77 w 77"/>
              <a:gd name="T27" fmla="*/ 309 h 30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77" h="309">
                <a:moveTo>
                  <a:pt x="77" y="0"/>
                </a:moveTo>
                <a:cubicBezTo>
                  <a:pt x="67" y="3"/>
                  <a:pt x="30" y="24"/>
                  <a:pt x="23" y="34"/>
                </a:cubicBezTo>
                <a:cubicBezTo>
                  <a:pt x="17" y="42"/>
                  <a:pt x="7" y="62"/>
                  <a:pt x="7" y="62"/>
                </a:cubicBezTo>
                <a:cubicBezTo>
                  <a:pt x="0" y="88"/>
                  <a:pt x="12" y="101"/>
                  <a:pt x="27" y="118"/>
                </a:cubicBezTo>
                <a:cubicBezTo>
                  <a:pt x="32" y="138"/>
                  <a:pt x="21" y="155"/>
                  <a:pt x="15" y="174"/>
                </a:cubicBezTo>
                <a:cubicBezTo>
                  <a:pt x="23" y="199"/>
                  <a:pt x="36" y="219"/>
                  <a:pt x="43" y="244"/>
                </a:cubicBezTo>
                <a:cubicBezTo>
                  <a:pt x="42" y="256"/>
                  <a:pt x="41" y="269"/>
                  <a:pt x="39" y="282"/>
                </a:cubicBezTo>
                <a:cubicBezTo>
                  <a:pt x="37" y="291"/>
                  <a:pt x="31" y="309"/>
                  <a:pt x="31" y="309"/>
                </a:cubicBezTo>
              </a:path>
            </a:pathLst>
          </a:custGeom>
          <a:solidFill>
            <a:srgbClr val="08205C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05" name="Freeform 109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1924974" y="2058516"/>
            <a:ext cx="146538" cy="141288"/>
          </a:xfrm>
          <a:custGeom>
            <a:avLst/>
            <a:gdLst>
              <a:gd name="T0" fmla="*/ 6 w 104"/>
              <a:gd name="T1" fmla="*/ 0 h 81"/>
              <a:gd name="T2" fmla="*/ 59 w 104"/>
              <a:gd name="T3" fmla="*/ 18 h 81"/>
              <a:gd name="T4" fmla="*/ 68 w 104"/>
              <a:gd name="T5" fmla="*/ 31 h 81"/>
              <a:gd name="T6" fmla="*/ 81 w 104"/>
              <a:gd name="T7" fmla="*/ 36 h 81"/>
              <a:gd name="T8" fmla="*/ 104 w 104"/>
              <a:gd name="T9" fmla="*/ 76 h 81"/>
              <a:gd name="T10" fmla="*/ 64 w 104"/>
              <a:gd name="T11" fmla="*/ 71 h 81"/>
              <a:gd name="T12" fmla="*/ 10 w 104"/>
              <a:gd name="T13" fmla="*/ 45 h 81"/>
              <a:gd name="T14" fmla="*/ 6 w 104"/>
              <a:gd name="T15" fmla="*/ 0 h 8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04"/>
              <a:gd name="T25" fmla="*/ 0 h 81"/>
              <a:gd name="T26" fmla="*/ 104 w 104"/>
              <a:gd name="T27" fmla="*/ 81 h 8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04" h="81">
                <a:moveTo>
                  <a:pt x="6" y="0"/>
                </a:moveTo>
                <a:cubicBezTo>
                  <a:pt x="28" y="4"/>
                  <a:pt x="41" y="6"/>
                  <a:pt x="59" y="18"/>
                </a:cubicBezTo>
                <a:cubicBezTo>
                  <a:pt x="62" y="22"/>
                  <a:pt x="64" y="28"/>
                  <a:pt x="68" y="31"/>
                </a:cubicBezTo>
                <a:cubicBezTo>
                  <a:pt x="72" y="34"/>
                  <a:pt x="78" y="33"/>
                  <a:pt x="81" y="36"/>
                </a:cubicBezTo>
                <a:cubicBezTo>
                  <a:pt x="95" y="51"/>
                  <a:pt x="98" y="60"/>
                  <a:pt x="104" y="76"/>
                </a:cubicBezTo>
                <a:cubicBezTo>
                  <a:pt x="87" y="81"/>
                  <a:pt x="80" y="77"/>
                  <a:pt x="64" y="71"/>
                </a:cubicBezTo>
                <a:cubicBezTo>
                  <a:pt x="55" y="46"/>
                  <a:pt x="31" y="58"/>
                  <a:pt x="10" y="45"/>
                </a:cubicBezTo>
                <a:cubicBezTo>
                  <a:pt x="4" y="25"/>
                  <a:pt x="0" y="21"/>
                  <a:pt x="6" y="0"/>
                </a:cubicBezTo>
                <a:close/>
              </a:path>
            </a:pathLst>
          </a:custGeom>
          <a:solidFill>
            <a:srgbClr val="75B2DD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06" name="Freeform 110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2159435" y="2191866"/>
            <a:ext cx="80596" cy="76200"/>
          </a:xfrm>
          <a:custGeom>
            <a:avLst/>
            <a:gdLst>
              <a:gd name="T0" fmla="*/ 26 w 58"/>
              <a:gd name="T1" fmla="*/ 44 h 44"/>
              <a:gd name="T2" fmla="*/ 9 w 58"/>
              <a:gd name="T3" fmla="*/ 0 h 44"/>
              <a:gd name="T4" fmla="*/ 58 w 58"/>
              <a:gd name="T5" fmla="*/ 27 h 44"/>
              <a:gd name="T6" fmla="*/ 26 w 58"/>
              <a:gd name="T7" fmla="*/ 44 h 44"/>
              <a:gd name="T8" fmla="*/ 0 60000 65536"/>
              <a:gd name="T9" fmla="*/ 0 60000 65536"/>
              <a:gd name="T10" fmla="*/ 0 60000 65536"/>
              <a:gd name="T11" fmla="*/ 0 60000 65536"/>
              <a:gd name="T12" fmla="*/ 0 w 58"/>
              <a:gd name="T13" fmla="*/ 0 h 44"/>
              <a:gd name="T14" fmla="*/ 58 w 58"/>
              <a:gd name="T15" fmla="*/ 44 h 4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8" h="44">
                <a:moveTo>
                  <a:pt x="26" y="44"/>
                </a:moveTo>
                <a:cubicBezTo>
                  <a:pt x="0" y="36"/>
                  <a:pt x="4" y="26"/>
                  <a:pt x="9" y="0"/>
                </a:cubicBezTo>
                <a:cubicBezTo>
                  <a:pt x="37" y="4"/>
                  <a:pt x="49" y="1"/>
                  <a:pt x="58" y="27"/>
                </a:cubicBezTo>
                <a:cubicBezTo>
                  <a:pt x="38" y="38"/>
                  <a:pt x="49" y="33"/>
                  <a:pt x="26" y="44"/>
                </a:cubicBezTo>
                <a:close/>
              </a:path>
            </a:pathLst>
          </a:custGeom>
          <a:solidFill>
            <a:srgbClr val="75B2DD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07" name="Freeform 111"/>
          <p:cNvSpPr>
            <a:spLocks/>
          </p:cNvSpPr>
          <p:nvPr>
            <p:custDataLst>
              <p:tags r:id="rId104"/>
            </p:custDataLst>
          </p:nvPr>
        </p:nvSpPr>
        <p:spPr bwMode="auto">
          <a:xfrm>
            <a:off x="2785154" y="3450754"/>
            <a:ext cx="92320" cy="88900"/>
          </a:xfrm>
          <a:custGeom>
            <a:avLst/>
            <a:gdLst>
              <a:gd name="T0" fmla="*/ 0 w 66"/>
              <a:gd name="T1" fmla="*/ 0 h 50"/>
              <a:gd name="T2" fmla="*/ 31 w 66"/>
              <a:gd name="T3" fmla="*/ 48 h 50"/>
              <a:gd name="T4" fmla="*/ 53 w 66"/>
              <a:gd name="T5" fmla="*/ 44 h 50"/>
              <a:gd name="T6" fmla="*/ 22 w 66"/>
              <a:gd name="T7" fmla="*/ 4 h 50"/>
              <a:gd name="T8" fmla="*/ 0 w 66"/>
              <a:gd name="T9" fmla="*/ 0 h 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6"/>
              <a:gd name="T16" fmla="*/ 0 h 50"/>
              <a:gd name="T17" fmla="*/ 66 w 66"/>
              <a:gd name="T18" fmla="*/ 50 h 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6" h="50">
                <a:moveTo>
                  <a:pt x="0" y="0"/>
                </a:moveTo>
                <a:cubicBezTo>
                  <a:pt x="8" y="24"/>
                  <a:pt x="8" y="35"/>
                  <a:pt x="31" y="48"/>
                </a:cubicBezTo>
                <a:cubicBezTo>
                  <a:pt x="38" y="47"/>
                  <a:pt x="49" y="50"/>
                  <a:pt x="53" y="44"/>
                </a:cubicBezTo>
                <a:cubicBezTo>
                  <a:pt x="66" y="24"/>
                  <a:pt x="33" y="6"/>
                  <a:pt x="22" y="4"/>
                </a:cubicBezTo>
                <a:cubicBezTo>
                  <a:pt x="4" y="9"/>
                  <a:pt x="11" y="11"/>
                  <a:pt x="0" y="0"/>
                </a:cubicBezTo>
                <a:close/>
              </a:path>
            </a:pathLst>
          </a:custGeom>
          <a:solidFill>
            <a:srgbClr val="75B2DD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08" name="Freeform 112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2713353" y="3342804"/>
            <a:ext cx="55685" cy="112712"/>
          </a:xfrm>
          <a:custGeom>
            <a:avLst/>
            <a:gdLst>
              <a:gd name="T0" fmla="*/ 5 w 41"/>
              <a:gd name="T1" fmla="*/ 0 h 64"/>
              <a:gd name="T2" fmla="*/ 41 w 41"/>
              <a:gd name="T3" fmla="*/ 53 h 64"/>
              <a:gd name="T4" fmla="*/ 5 w 41"/>
              <a:gd name="T5" fmla="*/ 0 h 64"/>
              <a:gd name="T6" fmla="*/ 0 60000 65536"/>
              <a:gd name="T7" fmla="*/ 0 60000 65536"/>
              <a:gd name="T8" fmla="*/ 0 60000 65536"/>
              <a:gd name="T9" fmla="*/ 0 w 41"/>
              <a:gd name="T10" fmla="*/ 0 h 64"/>
              <a:gd name="T11" fmla="*/ 41 w 41"/>
              <a:gd name="T12" fmla="*/ 64 h 6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1" h="64">
                <a:moveTo>
                  <a:pt x="5" y="0"/>
                </a:moveTo>
                <a:cubicBezTo>
                  <a:pt x="8" y="40"/>
                  <a:pt x="0" y="64"/>
                  <a:pt x="41" y="53"/>
                </a:cubicBezTo>
                <a:cubicBezTo>
                  <a:pt x="35" y="16"/>
                  <a:pt x="33" y="20"/>
                  <a:pt x="5" y="0"/>
                </a:cubicBezTo>
                <a:close/>
              </a:path>
            </a:pathLst>
          </a:custGeom>
          <a:solidFill>
            <a:srgbClr val="75B2DD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09" name="Freeform 114"/>
          <p:cNvSpPr>
            <a:spLocks/>
          </p:cNvSpPr>
          <p:nvPr>
            <p:custDataLst>
              <p:tags r:id="rId106"/>
            </p:custDataLst>
          </p:nvPr>
        </p:nvSpPr>
        <p:spPr bwMode="auto">
          <a:xfrm>
            <a:off x="4546546" y="4531845"/>
            <a:ext cx="177312" cy="225425"/>
          </a:xfrm>
          <a:custGeom>
            <a:avLst/>
            <a:gdLst>
              <a:gd name="T0" fmla="*/ 0 w 126"/>
              <a:gd name="T1" fmla="*/ 71 h 128"/>
              <a:gd name="T2" fmla="*/ 33 w 126"/>
              <a:gd name="T3" fmla="*/ 32 h 128"/>
              <a:gd name="T4" fmla="*/ 54 w 126"/>
              <a:gd name="T5" fmla="*/ 2 h 128"/>
              <a:gd name="T6" fmla="*/ 90 w 126"/>
              <a:gd name="T7" fmla="*/ 17 h 128"/>
              <a:gd name="T8" fmla="*/ 120 w 126"/>
              <a:gd name="T9" fmla="*/ 80 h 128"/>
              <a:gd name="T10" fmla="*/ 126 w 126"/>
              <a:gd name="T11" fmla="*/ 128 h 12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"/>
              <a:gd name="T19" fmla="*/ 0 h 128"/>
              <a:gd name="T20" fmla="*/ 126 w 126"/>
              <a:gd name="T21" fmla="*/ 128 h 12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" h="128">
                <a:moveTo>
                  <a:pt x="0" y="71"/>
                </a:moveTo>
                <a:cubicBezTo>
                  <a:pt x="21" y="64"/>
                  <a:pt x="12" y="39"/>
                  <a:pt x="33" y="32"/>
                </a:cubicBezTo>
                <a:cubicBezTo>
                  <a:pt x="42" y="19"/>
                  <a:pt x="39" y="7"/>
                  <a:pt x="54" y="2"/>
                </a:cubicBezTo>
                <a:cubicBezTo>
                  <a:pt x="88" y="9"/>
                  <a:pt x="78" y="0"/>
                  <a:pt x="90" y="17"/>
                </a:cubicBezTo>
                <a:cubicBezTo>
                  <a:pt x="96" y="41"/>
                  <a:pt x="112" y="57"/>
                  <a:pt x="120" y="80"/>
                </a:cubicBezTo>
                <a:cubicBezTo>
                  <a:pt x="122" y="95"/>
                  <a:pt x="126" y="113"/>
                  <a:pt x="126" y="128"/>
                </a:cubicBezTo>
              </a:path>
            </a:pathLst>
          </a:custGeom>
          <a:solidFill>
            <a:srgbClr val="83BAD8"/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10" name="Freeform 115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4565599" y="4535016"/>
            <a:ext cx="153865" cy="209550"/>
          </a:xfrm>
          <a:custGeom>
            <a:avLst/>
            <a:gdLst>
              <a:gd name="T0" fmla="*/ 9 w 110"/>
              <a:gd name="T1" fmla="*/ 46 h 120"/>
              <a:gd name="T2" fmla="*/ 22 w 110"/>
              <a:gd name="T3" fmla="*/ 34 h 120"/>
              <a:gd name="T4" fmla="*/ 38 w 110"/>
              <a:gd name="T5" fmla="*/ 2 h 120"/>
              <a:gd name="T6" fmla="*/ 61 w 110"/>
              <a:gd name="T7" fmla="*/ 6 h 120"/>
              <a:gd name="T8" fmla="*/ 88 w 110"/>
              <a:gd name="T9" fmla="*/ 42 h 120"/>
              <a:gd name="T10" fmla="*/ 100 w 110"/>
              <a:gd name="T11" fmla="*/ 76 h 120"/>
              <a:gd name="T12" fmla="*/ 110 w 110"/>
              <a:gd name="T13" fmla="*/ 114 h 120"/>
              <a:gd name="T14" fmla="*/ 84 w 110"/>
              <a:gd name="T15" fmla="*/ 118 h 120"/>
              <a:gd name="T16" fmla="*/ 72 w 110"/>
              <a:gd name="T17" fmla="*/ 112 h 120"/>
              <a:gd name="T18" fmla="*/ 68 w 110"/>
              <a:gd name="T19" fmla="*/ 98 h 120"/>
              <a:gd name="T20" fmla="*/ 50 w 110"/>
              <a:gd name="T21" fmla="*/ 84 h 120"/>
              <a:gd name="T22" fmla="*/ 20 w 110"/>
              <a:gd name="T23" fmla="*/ 74 h 120"/>
              <a:gd name="T24" fmla="*/ 0 w 110"/>
              <a:gd name="T25" fmla="*/ 72 h 120"/>
              <a:gd name="T26" fmla="*/ 9 w 110"/>
              <a:gd name="T27" fmla="*/ 46 h 12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10"/>
              <a:gd name="T43" fmla="*/ 0 h 120"/>
              <a:gd name="T44" fmla="*/ 110 w 110"/>
              <a:gd name="T45" fmla="*/ 120 h 120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10" h="120">
                <a:moveTo>
                  <a:pt x="9" y="46"/>
                </a:moveTo>
                <a:cubicBezTo>
                  <a:pt x="12" y="42"/>
                  <a:pt x="19" y="37"/>
                  <a:pt x="22" y="34"/>
                </a:cubicBezTo>
                <a:cubicBezTo>
                  <a:pt x="23" y="33"/>
                  <a:pt x="38" y="2"/>
                  <a:pt x="38" y="2"/>
                </a:cubicBezTo>
                <a:cubicBezTo>
                  <a:pt x="40" y="0"/>
                  <a:pt x="61" y="6"/>
                  <a:pt x="61" y="6"/>
                </a:cubicBezTo>
                <a:cubicBezTo>
                  <a:pt x="76" y="11"/>
                  <a:pt x="73" y="37"/>
                  <a:pt x="88" y="42"/>
                </a:cubicBezTo>
                <a:cubicBezTo>
                  <a:pt x="91" y="69"/>
                  <a:pt x="91" y="50"/>
                  <a:pt x="100" y="76"/>
                </a:cubicBezTo>
                <a:cubicBezTo>
                  <a:pt x="103" y="84"/>
                  <a:pt x="110" y="114"/>
                  <a:pt x="110" y="114"/>
                </a:cubicBezTo>
                <a:cubicBezTo>
                  <a:pt x="108" y="120"/>
                  <a:pt x="90" y="119"/>
                  <a:pt x="84" y="118"/>
                </a:cubicBezTo>
                <a:cubicBezTo>
                  <a:pt x="78" y="118"/>
                  <a:pt x="75" y="115"/>
                  <a:pt x="72" y="112"/>
                </a:cubicBezTo>
                <a:cubicBezTo>
                  <a:pt x="69" y="109"/>
                  <a:pt x="72" y="103"/>
                  <a:pt x="68" y="98"/>
                </a:cubicBezTo>
                <a:cubicBezTo>
                  <a:pt x="56" y="95"/>
                  <a:pt x="58" y="88"/>
                  <a:pt x="50" y="84"/>
                </a:cubicBezTo>
                <a:cubicBezTo>
                  <a:pt x="42" y="80"/>
                  <a:pt x="28" y="76"/>
                  <a:pt x="20" y="74"/>
                </a:cubicBezTo>
                <a:cubicBezTo>
                  <a:pt x="17" y="70"/>
                  <a:pt x="1" y="77"/>
                  <a:pt x="0" y="72"/>
                </a:cubicBezTo>
                <a:cubicBezTo>
                  <a:pt x="0" y="65"/>
                  <a:pt x="6" y="52"/>
                  <a:pt x="9" y="46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11" name="Freeform 116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6496976" y="4133379"/>
            <a:ext cx="79131" cy="133350"/>
          </a:xfrm>
          <a:custGeom>
            <a:avLst/>
            <a:gdLst>
              <a:gd name="T0" fmla="*/ 19 w 55"/>
              <a:gd name="T1" fmla="*/ 0 h 76"/>
              <a:gd name="T2" fmla="*/ 10 w 55"/>
              <a:gd name="T3" fmla="*/ 75 h 76"/>
              <a:gd name="T4" fmla="*/ 37 w 55"/>
              <a:gd name="T5" fmla="*/ 71 h 76"/>
              <a:gd name="T6" fmla="*/ 55 w 55"/>
              <a:gd name="T7" fmla="*/ 44 h 76"/>
              <a:gd name="T8" fmla="*/ 19 w 55"/>
              <a:gd name="T9" fmla="*/ 0 h 7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5"/>
              <a:gd name="T16" fmla="*/ 0 h 76"/>
              <a:gd name="T17" fmla="*/ 55 w 55"/>
              <a:gd name="T18" fmla="*/ 76 h 7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5" h="76">
                <a:moveTo>
                  <a:pt x="19" y="0"/>
                </a:moveTo>
                <a:cubicBezTo>
                  <a:pt x="0" y="28"/>
                  <a:pt x="7" y="35"/>
                  <a:pt x="10" y="75"/>
                </a:cubicBezTo>
                <a:cubicBezTo>
                  <a:pt x="19" y="74"/>
                  <a:pt x="30" y="76"/>
                  <a:pt x="37" y="71"/>
                </a:cubicBezTo>
                <a:cubicBezTo>
                  <a:pt x="46" y="65"/>
                  <a:pt x="55" y="44"/>
                  <a:pt x="55" y="44"/>
                </a:cubicBezTo>
                <a:cubicBezTo>
                  <a:pt x="50" y="7"/>
                  <a:pt x="54" y="0"/>
                  <a:pt x="19" y="0"/>
                </a:cubicBezTo>
                <a:close/>
              </a:path>
            </a:pathLst>
          </a:custGeom>
          <a:solidFill>
            <a:srgbClr val="D2CFCC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12" name="Freeform 117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6794448" y="3977806"/>
            <a:ext cx="84992" cy="85725"/>
          </a:xfrm>
          <a:custGeom>
            <a:avLst/>
            <a:gdLst>
              <a:gd name="T0" fmla="*/ 31 w 61"/>
              <a:gd name="T1" fmla="*/ 0 h 49"/>
              <a:gd name="T2" fmla="*/ 0 w 61"/>
              <a:gd name="T3" fmla="*/ 26 h 49"/>
              <a:gd name="T4" fmla="*/ 31 w 61"/>
              <a:gd name="T5" fmla="*/ 49 h 49"/>
              <a:gd name="T6" fmla="*/ 31 w 61"/>
              <a:gd name="T7" fmla="*/ 0 h 49"/>
              <a:gd name="T8" fmla="*/ 0 60000 65536"/>
              <a:gd name="T9" fmla="*/ 0 60000 65536"/>
              <a:gd name="T10" fmla="*/ 0 60000 65536"/>
              <a:gd name="T11" fmla="*/ 0 60000 65536"/>
              <a:gd name="T12" fmla="*/ 0 w 61"/>
              <a:gd name="T13" fmla="*/ 0 h 49"/>
              <a:gd name="T14" fmla="*/ 61 w 61"/>
              <a:gd name="T15" fmla="*/ 49 h 4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1" h="49">
                <a:moveTo>
                  <a:pt x="31" y="0"/>
                </a:moveTo>
                <a:cubicBezTo>
                  <a:pt x="14" y="5"/>
                  <a:pt x="7" y="9"/>
                  <a:pt x="0" y="26"/>
                </a:cubicBezTo>
                <a:cubicBezTo>
                  <a:pt x="7" y="45"/>
                  <a:pt x="13" y="42"/>
                  <a:pt x="31" y="49"/>
                </a:cubicBezTo>
                <a:cubicBezTo>
                  <a:pt x="61" y="38"/>
                  <a:pt x="46" y="19"/>
                  <a:pt x="31" y="0"/>
                </a:cubicBezTo>
                <a:close/>
              </a:path>
            </a:pathLst>
          </a:custGeom>
          <a:solidFill>
            <a:srgbClr val="D2CFCC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13" name="Freeform 118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6897026" y="3866683"/>
            <a:ext cx="49823" cy="200025"/>
          </a:xfrm>
          <a:custGeom>
            <a:avLst/>
            <a:gdLst>
              <a:gd name="T0" fmla="*/ 22 w 36"/>
              <a:gd name="T1" fmla="*/ 0 h 114"/>
              <a:gd name="T2" fmla="*/ 4 w 36"/>
              <a:gd name="T3" fmla="*/ 40 h 114"/>
              <a:gd name="T4" fmla="*/ 8 w 36"/>
              <a:gd name="T5" fmla="*/ 85 h 114"/>
              <a:gd name="T6" fmla="*/ 35 w 36"/>
              <a:gd name="T7" fmla="*/ 63 h 114"/>
              <a:gd name="T8" fmla="*/ 22 w 36"/>
              <a:gd name="T9" fmla="*/ 0 h 11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6"/>
              <a:gd name="T16" fmla="*/ 0 h 114"/>
              <a:gd name="T17" fmla="*/ 36 w 36"/>
              <a:gd name="T18" fmla="*/ 114 h 11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6" h="114">
                <a:moveTo>
                  <a:pt x="22" y="0"/>
                </a:moveTo>
                <a:cubicBezTo>
                  <a:pt x="17" y="15"/>
                  <a:pt x="9" y="25"/>
                  <a:pt x="4" y="40"/>
                </a:cubicBezTo>
                <a:cubicBezTo>
                  <a:pt x="5" y="55"/>
                  <a:pt x="0" y="73"/>
                  <a:pt x="8" y="85"/>
                </a:cubicBezTo>
                <a:cubicBezTo>
                  <a:pt x="27" y="114"/>
                  <a:pt x="33" y="70"/>
                  <a:pt x="35" y="63"/>
                </a:cubicBezTo>
                <a:cubicBezTo>
                  <a:pt x="30" y="15"/>
                  <a:pt x="36" y="35"/>
                  <a:pt x="22" y="0"/>
                </a:cubicBezTo>
                <a:close/>
              </a:path>
            </a:pathLst>
          </a:custGeom>
          <a:solidFill>
            <a:srgbClr val="D2CFCC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14" name="Freeform 119"/>
          <p:cNvSpPr>
            <a:spLocks/>
          </p:cNvSpPr>
          <p:nvPr>
            <p:custDataLst>
              <p:tags r:id="rId111"/>
            </p:custDataLst>
          </p:nvPr>
        </p:nvSpPr>
        <p:spPr bwMode="auto">
          <a:xfrm>
            <a:off x="5699806" y="3530129"/>
            <a:ext cx="114300" cy="158750"/>
          </a:xfrm>
          <a:custGeom>
            <a:avLst/>
            <a:gdLst>
              <a:gd name="T0" fmla="*/ 30 w 81"/>
              <a:gd name="T1" fmla="*/ 8 h 90"/>
              <a:gd name="T2" fmla="*/ 7 w 81"/>
              <a:gd name="T3" fmla="*/ 66 h 90"/>
              <a:gd name="T4" fmla="*/ 34 w 81"/>
              <a:gd name="T5" fmla="*/ 84 h 90"/>
              <a:gd name="T6" fmla="*/ 56 w 81"/>
              <a:gd name="T7" fmla="*/ 8 h 90"/>
              <a:gd name="T8" fmla="*/ 30 w 81"/>
              <a:gd name="T9" fmla="*/ 8 h 9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1"/>
              <a:gd name="T16" fmla="*/ 0 h 90"/>
              <a:gd name="T17" fmla="*/ 81 w 81"/>
              <a:gd name="T18" fmla="*/ 90 h 9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1" h="90">
                <a:moveTo>
                  <a:pt x="30" y="8"/>
                </a:moveTo>
                <a:cubicBezTo>
                  <a:pt x="23" y="29"/>
                  <a:pt x="20" y="48"/>
                  <a:pt x="7" y="66"/>
                </a:cubicBezTo>
                <a:cubicBezTo>
                  <a:pt x="0" y="90"/>
                  <a:pt x="15" y="88"/>
                  <a:pt x="34" y="84"/>
                </a:cubicBezTo>
                <a:cubicBezTo>
                  <a:pt x="61" y="65"/>
                  <a:pt x="81" y="52"/>
                  <a:pt x="56" y="8"/>
                </a:cubicBezTo>
                <a:cubicBezTo>
                  <a:pt x="52" y="0"/>
                  <a:pt x="39" y="8"/>
                  <a:pt x="30" y="8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15" name="Freeform 120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3380100" y="3655545"/>
            <a:ext cx="448408" cy="588963"/>
          </a:xfrm>
          <a:custGeom>
            <a:avLst/>
            <a:gdLst>
              <a:gd name="T0" fmla="*/ 8 w 316"/>
              <a:gd name="T1" fmla="*/ 154 h 336"/>
              <a:gd name="T2" fmla="*/ 7 w 316"/>
              <a:gd name="T3" fmla="*/ 123 h 336"/>
              <a:gd name="T4" fmla="*/ 11 w 316"/>
              <a:gd name="T5" fmla="*/ 99 h 336"/>
              <a:gd name="T6" fmla="*/ 37 w 316"/>
              <a:gd name="T7" fmla="*/ 96 h 336"/>
              <a:gd name="T8" fmla="*/ 71 w 316"/>
              <a:gd name="T9" fmla="*/ 93 h 336"/>
              <a:gd name="T10" fmla="*/ 94 w 316"/>
              <a:gd name="T11" fmla="*/ 82 h 336"/>
              <a:gd name="T12" fmla="*/ 115 w 316"/>
              <a:gd name="T13" fmla="*/ 57 h 336"/>
              <a:gd name="T14" fmla="*/ 157 w 316"/>
              <a:gd name="T15" fmla="*/ 30 h 336"/>
              <a:gd name="T16" fmla="*/ 179 w 316"/>
              <a:gd name="T17" fmla="*/ 15 h 336"/>
              <a:gd name="T18" fmla="*/ 212 w 316"/>
              <a:gd name="T19" fmla="*/ 1 h 336"/>
              <a:gd name="T20" fmla="*/ 260 w 316"/>
              <a:gd name="T21" fmla="*/ 3 h 336"/>
              <a:gd name="T22" fmla="*/ 290 w 316"/>
              <a:gd name="T23" fmla="*/ 9 h 336"/>
              <a:gd name="T24" fmla="*/ 310 w 316"/>
              <a:gd name="T25" fmla="*/ 24 h 336"/>
              <a:gd name="T26" fmla="*/ 305 w 316"/>
              <a:gd name="T27" fmla="*/ 49 h 336"/>
              <a:gd name="T28" fmla="*/ 304 w 316"/>
              <a:gd name="T29" fmla="*/ 88 h 336"/>
              <a:gd name="T30" fmla="*/ 302 w 316"/>
              <a:gd name="T31" fmla="*/ 191 h 336"/>
              <a:gd name="T32" fmla="*/ 304 w 316"/>
              <a:gd name="T33" fmla="*/ 220 h 336"/>
              <a:gd name="T34" fmla="*/ 311 w 316"/>
              <a:gd name="T35" fmla="*/ 268 h 336"/>
              <a:gd name="T36" fmla="*/ 293 w 316"/>
              <a:gd name="T37" fmla="*/ 277 h 336"/>
              <a:gd name="T38" fmla="*/ 269 w 316"/>
              <a:gd name="T39" fmla="*/ 262 h 336"/>
              <a:gd name="T40" fmla="*/ 260 w 316"/>
              <a:gd name="T41" fmla="*/ 246 h 336"/>
              <a:gd name="T42" fmla="*/ 244 w 316"/>
              <a:gd name="T43" fmla="*/ 244 h 336"/>
              <a:gd name="T44" fmla="*/ 220 w 316"/>
              <a:gd name="T45" fmla="*/ 265 h 336"/>
              <a:gd name="T46" fmla="*/ 209 w 316"/>
              <a:gd name="T47" fmla="*/ 283 h 336"/>
              <a:gd name="T48" fmla="*/ 163 w 316"/>
              <a:gd name="T49" fmla="*/ 277 h 336"/>
              <a:gd name="T50" fmla="*/ 142 w 316"/>
              <a:gd name="T51" fmla="*/ 253 h 336"/>
              <a:gd name="T52" fmla="*/ 158 w 316"/>
              <a:gd name="T53" fmla="*/ 277 h 336"/>
              <a:gd name="T54" fmla="*/ 172 w 316"/>
              <a:gd name="T55" fmla="*/ 294 h 336"/>
              <a:gd name="T56" fmla="*/ 200 w 316"/>
              <a:gd name="T57" fmla="*/ 322 h 336"/>
              <a:gd name="T58" fmla="*/ 164 w 316"/>
              <a:gd name="T59" fmla="*/ 321 h 336"/>
              <a:gd name="T60" fmla="*/ 145 w 316"/>
              <a:gd name="T61" fmla="*/ 313 h 336"/>
              <a:gd name="T62" fmla="*/ 122 w 316"/>
              <a:gd name="T63" fmla="*/ 299 h 336"/>
              <a:gd name="T64" fmla="*/ 114 w 316"/>
              <a:gd name="T65" fmla="*/ 277 h 336"/>
              <a:gd name="T66" fmla="*/ 97 w 316"/>
              <a:gd name="T67" fmla="*/ 228 h 336"/>
              <a:gd name="T68" fmla="*/ 50 w 316"/>
              <a:gd name="T69" fmla="*/ 193 h 336"/>
              <a:gd name="T70" fmla="*/ 20 w 316"/>
              <a:gd name="T71" fmla="*/ 173 h 336"/>
              <a:gd name="T72" fmla="*/ 8 w 316"/>
              <a:gd name="T73" fmla="*/ 154 h 3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316"/>
              <a:gd name="T112" fmla="*/ 0 h 336"/>
              <a:gd name="T113" fmla="*/ 316 w 316"/>
              <a:gd name="T114" fmla="*/ 336 h 3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316" h="336">
                <a:moveTo>
                  <a:pt x="8" y="154"/>
                </a:moveTo>
                <a:cubicBezTo>
                  <a:pt x="6" y="147"/>
                  <a:pt x="7" y="132"/>
                  <a:pt x="7" y="123"/>
                </a:cubicBezTo>
                <a:cubicBezTo>
                  <a:pt x="7" y="114"/>
                  <a:pt x="6" y="103"/>
                  <a:pt x="11" y="99"/>
                </a:cubicBezTo>
                <a:cubicBezTo>
                  <a:pt x="16" y="95"/>
                  <a:pt x="27" y="97"/>
                  <a:pt x="37" y="96"/>
                </a:cubicBezTo>
                <a:cubicBezTo>
                  <a:pt x="52" y="96"/>
                  <a:pt x="56" y="94"/>
                  <a:pt x="71" y="93"/>
                </a:cubicBezTo>
                <a:cubicBezTo>
                  <a:pt x="81" y="92"/>
                  <a:pt x="86" y="87"/>
                  <a:pt x="94" y="82"/>
                </a:cubicBezTo>
                <a:cubicBezTo>
                  <a:pt x="101" y="74"/>
                  <a:pt x="106" y="63"/>
                  <a:pt x="115" y="57"/>
                </a:cubicBezTo>
                <a:cubicBezTo>
                  <a:pt x="121" y="47"/>
                  <a:pt x="145" y="32"/>
                  <a:pt x="157" y="30"/>
                </a:cubicBezTo>
                <a:cubicBezTo>
                  <a:pt x="163" y="27"/>
                  <a:pt x="172" y="16"/>
                  <a:pt x="179" y="15"/>
                </a:cubicBezTo>
                <a:cubicBezTo>
                  <a:pt x="186" y="6"/>
                  <a:pt x="201" y="3"/>
                  <a:pt x="212" y="1"/>
                </a:cubicBezTo>
                <a:cubicBezTo>
                  <a:pt x="223" y="0"/>
                  <a:pt x="247" y="2"/>
                  <a:pt x="260" y="3"/>
                </a:cubicBezTo>
                <a:cubicBezTo>
                  <a:pt x="273" y="4"/>
                  <a:pt x="282" y="5"/>
                  <a:pt x="290" y="9"/>
                </a:cubicBezTo>
                <a:cubicBezTo>
                  <a:pt x="298" y="13"/>
                  <a:pt x="308" y="17"/>
                  <a:pt x="310" y="24"/>
                </a:cubicBezTo>
                <a:cubicBezTo>
                  <a:pt x="316" y="32"/>
                  <a:pt x="310" y="42"/>
                  <a:pt x="305" y="49"/>
                </a:cubicBezTo>
                <a:cubicBezTo>
                  <a:pt x="302" y="65"/>
                  <a:pt x="302" y="66"/>
                  <a:pt x="304" y="88"/>
                </a:cubicBezTo>
                <a:cubicBezTo>
                  <a:pt x="303" y="123"/>
                  <a:pt x="310" y="160"/>
                  <a:pt x="302" y="191"/>
                </a:cubicBezTo>
                <a:cubicBezTo>
                  <a:pt x="301" y="202"/>
                  <a:pt x="305" y="209"/>
                  <a:pt x="304" y="220"/>
                </a:cubicBezTo>
                <a:cubicBezTo>
                  <a:pt x="305" y="239"/>
                  <a:pt x="305" y="252"/>
                  <a:pt x="311" y="268"/>
                </a:cubicBezTo>
                <a:cubicBezTo>
                  <a:pt x="313" y="281"/>
                  <a:pt x="309" y="274"/>
                  <a:pt x="293" y="277"/>
                </a:cubicBezTo>
                <a:cubicBezTo>
                  <a:pt x="287" y="277"/>
                  <a:pt x="274" y="267"/>
                  <a:pt x="269" y="262"/>
                </a:cubicBezTo>
                <a:cubicBezTo>
                  <a:pt x="264" y="254"/>
                  <a:pt x="272" y="248"/>
                  <a:pt x="260" y="246"/>
                </a:cubicBezTo>
                <a:cubicBezTo>
                  <a:pt x="254" y="243"/>
                  <a:pt x="251" y="243"/>
                  <a:pt x="244" y="244"/>
                </a:cubicBezTo>
                <a:cubicBezTo>
                  <a:pt x="233" y="248"/>
                  <a:pt x="229" y="258"/>
                  <a:pt x="220" y="265"/>
                </a:cubicBezTo>
                <a:cubicBezTo>
                  <a:pt x="215" y="269"/>
                  <a:pt x="215" y="280"/>
                  <a:pt x="209" y="283"/>
                </a:cubicBezTo>
                <a:cubicBezTo>
                  <a:pt x="193" y="280"/>
                  <a:pt x="175" y="283"/>
                  <a:pt x="163" y="277"/>
                </a:cubicBezTo>
                <a:cubicBezTo>
                  <a:pt x="156" y="267"/>
                  <a:pt x="153" y="259"/>
                  <a:pt x="142" y="253"/>
                </a:cubicBezTo>
                <a:cubicBezTo>
                  <a:pt x="128" y="257"/>
                  <a:pt x="155" y="251"/>
                  <a:pt x="158" y="277"/>
                </a:cubicBezTo>
                <a:cubicBezTo>
                  <a:pt x="160" y="284"/>
                  <a:pt x="165" y="287"/>
                  <a:pt x="172" y="294"/>
                </a:cubicBezTo>
                <a:cubicBezTo>
                  <a:pt x="179" y="301"/>
                  <a:pt x="201" y="318"/>
                  <a:pt x="200" y="322"/>
                </a:cubicBezTo>
                <a:cubicBezTo>
                  <a:pt x="203" y="336"/>
                  <a:pt x="174" y="322"/>
                  <a:pt x="164" y="321"/>
                </a:cubicBezTo>
                <a:cubicBezTo>
                  <a:pt x="159" y="319"/>
                  <a:pt x="151" y="314"/>
                  <a:pt x="145" y="313"/>
                </a:cubicBezTo>
                <a:cubicBezTo>
                  <a:pt x="140" y="307"/>
                  <a:pt x="128" y="303"/>
                  <a:pt x="122" y="299"/>
                </a:cubicBezTo>
                <a:cubicBezTo>
                  <a:pt x="116" y="291"/>
                  <a:pt x="117" y="287"/>
                  <a:pt x="114" y="277"/>
                </a:cubicBezTo>
                <a:cubicBezTo>
                  <a:pt x="106" y="266"/>
                  <a:pt x="108" y="242"/>
                  <a:pt x="97" y="228"/>
                </a:cubicBezTo>
                <a:cubicBezTo>
                  <a:pt x="86" y="214"/>
                  <a:pt x="63" y="202"/>
                  <a:pt x="50" y="193"/>
                </a:cubicBezTo>
                <a:cubicBezTo>
                  <a:pt x="45" y="186"/>
                  <a:pt x="28" y="178"/>
                  <a:pt x="20" y="173"/>
                </a:cubicBezTo>
                <a:cubicBezTo>
                  <a:pt x="17" y="171"/>
                  <a:pt x="0" y="154"/>
                  <a:pt x="8" y="154"/>
                </a:cubicBezTo>
                <a:close/>
              </a:path>
            </a:pathLst>
          </a:custGeom>
          <a:solidFill>
            <a:srgbClr val="8EB4E3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16" name="Freeform 121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3696625" y="4149254"/>
            <a:ext cx="269631" cy="252412"/>
          </a:xfrm>
          <a:custGeom>
            <a:avLst/>
            <a:gdLst>
              <a:gd name="T0" fmla="*/ 6 w 190"/>
              <a:gd name="T1" fmla="*/ 102 h 143"/>
              <a:gd name="T2" fmla="*/ 53 w 190"/>
              <a:gd name="T3" fmla="*/ 93 h 143"/>
              <a:gd name="T4" fmla="*/ 62 w 190"/>
              <a:gd name="T5" fmla="*/ 72 h 143"/>
              <a:gd name="T6" fmla="*/ 116 w 190"/>
              <a:gd name="T7" fmla="*/ 0 h 143"/>
              <a:gd name="T8" fmla="*/ 152 w 190"/>
              <a:gd name="T9" fmla="*/ 3 h 143"/>
              <a:gd name="T10" fmla="*/ 152 w 190"/>
              <a:gd name="T11" fmla="*/ 81 h 143"/>
              <a:gd name="T12" fmla="*/ 153 w 190"/>
              <a:gd name="T13" fmla="*/ 88 h 143"/>
              <a:gd name="T14" fmla="*/ 188 w 190"/>
              <a:gd name="T15" fmla="*/ 82 h 143"/>
              <a:gd name="T16" fmla="*/ 179 w 190"/>
              <a:gd name="T17" fmla="*/ 112 h 143"/>
              <a:gd name="T18" fmla="*/ 150 w 190"/>
              <a:gd name="T19" fmla="*/ 135 h 143"/>
              <a:gd name="T20" fmla="*/ 128 w 190"/>
              <a:gd name="T21" fmla="*/ 126 h 143"/>
              <a:gd name="T22" fmla="*/ 75 w 190"/>
              <a:gd name="T23" fmla="*/ 126 h 143"/>
              <a:gd name="T24" fmla="*/ 51 w 190"/>
              <a:gd name="T25" fmla="*/ 138 h 143"/>
              <a:gd name="T26" fmla="*/ 24 w 190"/>
              <a:gd name="T27" fmla="*/ 136 h 143"/>
              <a:gd name="T28" fmla="*/ 5 w 190"/>
              <a:gd name="T29" fmla="*/ 135 h 143"/>
              <a:gd name="T30" fmla="*/ 6 w 190"/>
              <a:gd name="T31" fmla="*/ 102 h 1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0"/>
              <a:gd name="T49" fmla="*/ 0 h 143"/>
              <a:gd name="T50" fmla="*/ 190 w 190"/>
              <a:gd name="T51" fmla="*/ 143 h 14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0" h="143">
                <a:moveTo>
                  <a:pt x="6" y="102"/>
                </a:moveTo>
                <a:cubicBezTo>
                  <a:pt x="34" y="100"/>
                  <a:pt x="35" y="104"/>
                  <a:pt x="53" y="93"/>
                </a:cubicBezTo>
                <a:cubicBezTo>
                  <a:pt x="59" y="86"/>
                  <a:pt x="59" y="80"/>
                  <a:pt x="62" y="72"/>
                </a:cubicBezTo>
                <a:cubicBezTo>
                  <a:pt x="64" y="48"/>
                  <a:pt x="91" y="5"/>
                  <a:pt x="116" y="0"/>
                </a:cubicBezTo>
                <a:cubicBezTo>
                  <a:pt x="125" y="1"/>
                  <a:pt x="152" y="3"/>
                  <a:pt x="152" y="3"/>
                </a:cubicBezTo>
                <a:cubicBezTo>
                  <a:pt x="161" y="18"/>
                  <a:pt x="151" y="64"/>
                  <a:pt x="152" y="81"/>
                </a:cubicBezTo>
                <a:cubicBezTo>
                  <a:pt x="152" y="83"/>
                  <a:pt x="151" y="87"/>
                  <a:pt x="153" y="88"/>
                </a:cubicBezTo>
                <a:cubicBezTo>
                  <a:pt x="162" y="91"/>
                  <a:pt x="178" y="81"/>
                  <a:pt x="188" y="82"/>
                </a:cubicBezTo>
                <a:cubicBezTo>
                  <a:pt x="186" y="95"/>
                  <a:pt x="190" y="105"/>
                  <a:pt x="179" y="112"/>
                </a:cubicBezTo>
                <a:cubicBezTo>
                  <a:pt x="174" y="120"/>
                  <a:pt x="160" y="133"/>
                  <a:pt x="150" y="135"/>
                </a:cubicBezTo>
                <a:cubicBezTo>
                  <a:pt x="141" y="134"/>
                  <a:pt x="137" y="131"/>
                  <a:pt x="128" y="126"/>
                </a:cubicBezTo>
                <a:cubicBezTo>
                  <a:pt x="95" y="127"/>
                  <a:pt x="99" y="122"/>
                  <a:pt x="75" y="126"/>
                </a:cubicBezTo>
                <a:cubicBezTo>
                  <a:pt x="70" y="130"/>
                  <a:pt x="58" y="137"/>
                  <a:pt x="51" y="138"/>
                </a:cubicBezTo>
                <a:cubicBezTo>
                  <a:pt x="45" y="143"/>
                  <a:pt x="33" y="135"/>
                  <a:pt x="24" y="136"/>
                </a:cubicBezTo>
                <a:cubicBezTo>
                  <a:pt x="18" y="136"/>
                  <a:pt x="6" y="141"/>
                  <a:pt x="5" y="135"/>
                </a:cubicBezTo>
                <a:cubicBezTo>
                  <a:pt x="0" y="102"/>
                  <a:pt x="18" y="102"/>
                  <a:pt x="6" y="102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17" name="Freeform 122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3917899" y="4161958"/>
            <a:ext cx="102577" cy="134937"/>
          </a:xfrm>
          <a:custGeom>
            <a:avLst/>
            <a:gdLst>
              <a:gd name="T0" fmla="*/ 0 w 73"/>
              <a:gd name="T1" fmla="*/ 0 h 77"/>
              <a:gd name="T2" fmla="*/ 3 w 73"/>
              <a:gd name="T3" fmla="*/ 77 h 77"/>
              <a:gd name="T4" fmla="*/ 57 w 73"/>
              <a:gd name="T5" fmla="*/ 72 h 77"/>
              <a:gd name="T6" fmla="*/ 65 w 73"/>
              <a:gd name="T7" fmla="*/ 14 h 77"/>
              <a:gd name="T8" fmla="*/ 0 60000 65536"/>
              <a:gd name="T9" fmla="*/ 0 60000 65536"/>
              <a:gd name="T10" fmla="*/ 0 60000 65536"/>
              <a:gd name="T11" fmla="*/ 0 60000 65536"/>
              <a:gd name="T12" fmla="*/ 0 w 73"/>
              <a:gd name="T13" fmla="*/ 0 h 77"/>
              <a:gd name="T14" fmla="*/ 73 w 73"/>
              <a:gd name="T15" fmla="*/ 77 h 7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3" h="77">
                <a:moveTo>
                  <a:pt x="0" y="0"/>
                </a:moveTo>
                <a:cubicBezTo>
                  <a:pt x="6" y="18"/>
                  <a:pt x="0" y="57"/>
                  <a:pt x="3" y="77"/>
                </a:cubicBezTo>
                <a:cubicBezTo>
                  <a:pt x="48" y="67"/>
                  <a:pt x="30" y="64"/>
                  <a:pt x="57" y="72"/>
                </a:cubicBezTo>
                <a:cubicBezTo>
                  <a:pt x="73" y="46"/>
                  <a:pt x="65" y="64"/>
                  <a:pt x="65" y="14"/>
                </a:cubicBezTo>
              </a:path>
            </a:pathLst>
          </a:custGeom>
          <a:solidFill>
            <a:srgbClr val="FFD600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18" name="Freeform 123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3907641" y="4152429"/>
            <a:ext cx="121627" cy="146050"/>
          </a:xfrm>
          <a:custGeom>
            <a:avLst/>
            <a:gdLst>
              <a:gd name="T0" fmla="*/ 0 w 85"/>
              <a:gd name="T1" fmla="*/ 0 h 84"/>
              <a:gd name="T2" fmla="*/ 9 w 85"/>
              <a:gd name="T3" fmla="*/ 84 h 84"/>
              <a:gd name="T4" fmla="*/ 63 w 85"/>
              <a:gd name="T5" fmla="*/ 72 h 84"/>
              <a:gd name="T6" fmla="*/ 75 w 85"/>
              <a:gd name="T7" fmla="*/ 51 h 84"/>
              <a:gd name="T8" fmla="*/ 0 w 85"/>
              <a:gd name="T9" fmla="*/ 0 h 8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5"/>
              <a:gd name="T16" fmla="*/ 0 h 84"/>
              <a:gd name="T17" fmla="*/ 85 w 85"/>
              <a:gd name="T18" fmla="*/ 84 h 8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5" h="84">
                <a:moveTo>
                  <a:pt x="0" y="0"/>
                </a:moveTo>
                <a:cubicBezTo>
                  <a:pt x="2" y="30"/>
                  <a:pt x="5" y="55"/>
                  <a:pt x="9" y="84"/>
                </a:cubicBezTo>
                <a:cubicBezTo>
                  <a:pt x="28" y="81"/>
                  <a:pt x="45" y="76"/>
                  <a:pt x="63" y="72"/>
                </a:cubicBezTo>
                <a:cubicBezTo>
                  <a:pt x="65" y="64"/>
                  <a:pt x="73" y="59"/>
                  <a:pt x="75" y="51"/>
                </a:cubicBezTo>
                <a:cubicBezTo>
                  <a:pt x="85" y="3"/>
                  <a:pt x="26" y="13"/>
                  <a:pt x="0" y="0"/>
                </a:cubicBezTo>
                <a:close/>
              </a:path>
            </a:pathLst>
          </a:custGeom>
          <a:solidFill>
            <a:srgbClr val="FF0000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/>
          <a:p>
            <a:pPr defTabSz="457200" eaLnBrk="0" hangingPunct="0">
              <a:defRPr/>
            </a:pPr>
            <a:endParaRPr lang="en-US" sz="80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19" name="Freeform 124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3917897" y="4290545"/>
            <a:ext cx="46892" cy="100013"/>
          </a:xfrm>
          <a:custGeom>
            <a:avLst/>
            <a:gdLst>
              <a:gd name="T0" fmla="*/ 34 w 34"/>
              <a:gd name="T1" fmla="*/ 0 h 57"/>
              <a:gd name="T2" fmla="*/ 28 w 34"/>
              <a:gd name="T3" fmla="*/ 32 h 57"/>
              <a:gd name="T4" fmla="*/ 16 w 34"/>
              <a:gd name="T5" fmla="*/ 42 h 57"/>
              <a:gd name="T6" fmla="*/ 0 w 34"/>
              <a:gd name="T7" fmla="*/ 57 h 57"/>
              <a:gd name="T8" fmla="*/ 0 60000 65536"/>
              <a:gd name="T9" fmla="*/ 0 60000 65536"/>
              <a:gd name="T10" fmla="*/ 0 60000 65536"/>
              <a:gd name="T11" fmla="*/ 0 60000 65536"/>
              <a:gd name="T12" fmla="*/ 0 w 34"/>
              <a:gd name="T13" fmla="*/ 0 h 57"/>
              <a:gd name="T14" fmla="*/ 34 w 34"/>
              <a:gd name="T15" fmla="*/ 57 h 5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4" h="57">
                <a:moveTo>
                  <a:pt x="34" y="0"/>
                </a:moveTo>
                <a:cubicBezTo>
                  <a:pt x="33" y="5"/>
                  <a:pt x="33" y="23"/>
                  <a:pt x="28" y="32"/>
                </a:cubicBezTo>
                <a:cubicBezTo>
                  <a:pt x="25" y="39"/>
                  <a:pt x="21" y="38"/>
                  <a:pt x="16" y="42"/>
                </a:cubicBezTo>
                <a:cubicBezTo>
                  <a:pt x="11" y="46"/>
                  <a:pt x="1" y="56"/>
                  <a:pt x="0" y="57"/>
                </a:cubicBezTo>
              </a:path>
            </a:pathLst>
          </a:custGeom>
          <a:solidFill>
            <a:srgbClr val="FFD600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20" name="Freeform 125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2730936" y="2168058"/>
            <a:ext cx="698988" cy="820737"/>
          </a:xfrm>
          <a:custGeom>
            <a:avLst/>
            <a:gdLst>
              <a:gd name="T0" fmla="*/ 11 w 495"/>
              <a:gd name="T1" fmla="*/ 182 h 467"/>
              <a:gd name="T2" fmla="*/ 27 w 495"/>
              <a:gd name="T3" fmla="*/ 133 h 467"/>
              <a:gd name="T4" fmla="*/ 31 w 495"/>
              <a:gd name="T5" fmla="*/ 112 h 467"/>
              <a:gd name="T6" fmla="*/ 43 w 495"/>
              <a:gd name="T7" fmla="*/ 88 h 467"/>
              <a:gd name="T8" fmla="*/ 47 w 495"/>
              <a:gd name="T9" fmla="*/ 68 h 467"/>
              <a:gd name="T10" fmla="*/ 43 w 495"/>
              <a:gd name="T11" fmla="*/ 40 h 467"/>
              <a:gd name="T12" fmla="*/ 37 w 495"/>
              <a:gd name="T13" fmla="*/ 2 h 467"/>
              <a:gd name="T14" fmla="*/ 77 w 495"/>
              <a:gd name="T15" fmla="*/ 54 h 467"/>
              <a:gd name="T16" fmla="*/ 93 w 495"/>
              <a:gd name="T17" fmla="*/ 63 h 467"/>
              <a:gd name="T18" fmla="*/ 107 w 495"/>
              <a:gd name="T19" fmla="*/ 54 h 467"/>
              <a:gd name="T20" fmla="*/ 139 w 495"/>
              <a:gd name="T21" fmla="*/ 38 h 467"/>
              <a:gd name="T22" fmla="*/ 153 w 495"/>
              <a:gd name="T23" fmla="*/ 64 h 467"/>
              <a:gd name="T24" fmla="*/ 153 w 495"/>
              <a:gd name="T25" fmla="*/ 80 h 467"/>
              <a:gd name="T26" fmla="*/ 161 w 495"/>
              <a:gd name="T27" fmla="*/ 98 h 467"/>
              <a:gd name="T28" fmla="*/ 191 w 495"/>
              <a:gd name="T29" fmla="*/ 112 h 467"/>
              <a:gd name="T30" fmla="*/ 233 w 495"/>
              <a:gd name="T31" fmla="*/ 134 h 467"/>
              <a:gd name="T32" fmla="*/ 247 w 495"/>
              <a:gd name="T33" fmla="*/ 158 h 467"/>
              <a:gd name="T34" fmla="*/ 265 w 495"/>
              <a:gd name="T35" fmla="*/ 188 h 467"/>
              <a:gd name="T36" fmla="*/ 283 w 495"/>
              <a:gd name="T37" fmla="*/ 208 h 467"/>
              <a:gd name="T38" fmla="*/ 291 w 495"/>
              <a:gd name="T39" fmla="*/ 228 h 467"/>
              <a:gd name="T40" fmla="*/ 313 w 495"/>
              <a:gd name="T41" fmla="*/ 252 h 467"/>
              <a:gd name="T42" fmla="*/ 345 w 495"/>
              <a:gd name="T43" fmla="*/ 258 h 467"/>
              <a:gd name="T44" fmla="*/ 393 w 495"/>
              <a:gd name="T45" fmla="*/ 262 h 467"/>
              <a:gd name="T46" fmla="*/ 363 w 495"/>
              <a:gd name="T47" fmla="*/ 286 h 467"/>
              <a:gd name="T48" fmla="*/ 375 w 495"/>
              <a:gd name="T49" fmla="*/ 316 h 467"/>
              <a:gd name="T50" fmla="*/ 407 w 495"/>
              <a:gd name="T51" fmla="*/ 298 h 467"/>
              <a:gd name="T52" fmla="*/ 435 w 495"/>
              <a:gd name="T53" fmla="*/ 284 h 467"/>
              <a:gd name="T54" fmla="*/ 469 w 495"/>
              <a:gd name="T55" fmla="*/ 284 h 467"/>
              <a:gd name="T56" fmla="*/ 487 w 495"/>
              <a:gd name="T57" fmla="*/ 304 h 467"/>
              <a:gd name="T58" fmla="*/ 471 w 495"/>
              <a:gd name="T59" fmla="*/ 340 h 467"/>
              <a:gd name="T60" fmla="*/ 493 w 495"/>
              <a:gd name="T61" fmla="*/ 388 h 467"/>
              <a:gd name="T62" fmla="*/ 457 w 495"/>
              <a:gd name="T63" fmla="*/ 400 h 467"/>
              <a:gd name="T64" fmla="*/ 439 w 495"/>
              <a:gd name="T65" fmla="*/ 422 h 467"/>
              <a:gd name="T66" fmla="*/ 417 w 495"/>
              <a:gd name="T67" fmla="*/ 422 h 467"/>
              <a:gd name="T68" fmla="*/ 383 w 495"/>
              <a:gd name="T69" fmla="*/ 434 h 467"/>
              <a:gd name="T70" fmla="*/ 345 w 495"/>
              <a:gd name="T71" fmla="*/ 434 h 467"/>
              <a:gd name="T72" fmla="*/ 311 w 495"/>
              <a:gd name="T73" fmla="*/ 440 h 467"/>
              <a:gd name="T74" fmla="*/ 295 w 495"/>
              <a:gd name="T75" fmla="*/ 442 h 467"/>
              <a:gd name="T76" fmla="*/ 261 w 495"/>
              <a:gd name="T77" fmla="*/ 454 h 467"/>
              <a:gd name="T78" fmla="*/ 265 w 495"/>
              <a:gd name="T79" fmla="*/ 454 h 467"/>
              <a:gd name="T80" fmla="*/ 239 w 495"/>
              <a:gd name="T81" fmla="*/ 466 h 467"/>
              <a:gd name="T82" fmla="*/ 227 w 495"/>
              <a:gd name="T83" fmla="*/ 462 h 467"/>
              <a:gd name="T84" fmla="*/ 207 w 495"/>
              <a:gd name="T85" fmla="*/ 440 h 467"/>
              <a:gd name="T86" fmla="*/ 191 w 495"/>
              <a:gd name="T87" fmla="*/ 424 h 467"/>
              <a:gd name="T88" fmla="*/ 151 w 495"/>
              <a:gd name="T89" fmla="*/ 414 h 467"/>
              <a:gd name="T90" fmla="*/ 129 w 495"/>
              <a:gd name="T91" fmla="*/ 382 h 467"/>
              <a:gd name="T92" fmla="*/ 121 w 495"/>
              <a:gd name="T93" fmla="*/ 342 h 467"/>
              <a:gd name="T94" fmla="*/ 109 w 495"/>
              <a:gd name="T95" fmla="*/ 306 h 467"/>
              <a:gd name="T96" fmla="*/ 81 w 495"/>
              <a:gd name="T97" fmla="*/ 278 h 467"/>
              <a:gd name="T98" fmla="*/ 47 w 495"/>
              <a:gd name="T99" fmla="*/ 254 h 467"/>
              <a:gd name="T100" fmla="*/ 15 w 495"/>
              <a:gd name="T101" fmla="*/ 222 h 467"/>
              <a:gd name="T102" fmla="*/ 11 w 495"/>
              <a:gd name="T103" fmla="*/ 182 h 46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495"/>
              <a:gd name="T157" fmla="*/ 0 h 467"/>
              <a:gd name="T158" fmla="*/ 495 w 495"/>
              <a:gd name="T159" fmla="*/ 467 h 467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495" h="467">
                <a:moveTo>
                  <a:pt x="11" y="182"/>
                </a:moveTo>
                <a:cubicBezTo>
                  <a:pt x="13" y="167"/>
                  <a:pt x="24" y="145"/>
                  <a:pt x="27" y="133"/>
                </a:cubicBezTo>
                <a:cubicBezTo>
                  <a:pt x="30" y="121"/>
                  <a:pt x="28" y="119"/>
                  <a:pt x="31" y="112"/>
                </a:cubicBezTo>
                <a:cubicBezTo>
                  <a:pt x="34" y="106"/>
                  <a:pt x="40" y="95"/>
                  <a:pt x="43" y="88"/>
                </a:cubicBezTo>
                <a:cubicBezTo>
                  <a:pt x="46" y="81"/>
                  <a:pt x="47" y="76"/>
                  <a:pt x="47" y="68"/>
                </a:cubicBezTo>
                <a:cubicBezTo>
                  <a:pt x="47" y="60"/>
                  <a:pt x="45" y="51"/>
                  <a:pt x="43" y="40"/>
                </a:cubicBezTo>
                <a:cubicBezTo>
                  <a:pt x="41" y="29"/>
                  <a:pt x="32" y="0"/>
                  <a:pt x="37" y="2"/>
                </a:cubicBezTo>
                <a:cubicBezTo>
                  <a:pt x="42" y="4"/>
                  <a:pt x="68" y="44"/>
                  <a:pt x="77" y="54"/>
                </a:cubicBezTo>
                <a:cubicBezTo>
                  <a:pt x="86" y="64"/>
                  <a:pt x="88" y="63"/>
                  <a:pt x="93" y="63"/>
                </a:cubicBezTo>
                <a:cubicBezTo>
                  <a:pt x="98" y="63"/>
                  <a:pt x="99" y="58"/>
                  <a:pt x="107" y="54"/>
                </a:cubicBezTo>
                <a:cubicBezTo>
                  <a:pt x="115" y="50"/>
                  <a:pt x="131" y="36"/>
                  <a:pt x="139" y="38"/>
                </a:cubicBezTo>
                <a:cubicBezTo>
                  <a:pt x="147" y="40"/>
                  <a:pt x="151" y="57"/>
                  <a:pt x="153" y="64"/>
                </a:cubicBezTo>
                <a:cubicBezTo>
                  <a:pt x="155" y="71"/>
                  <a:pt x="152" y="74"/>
                  <a:pt x="153" y="80"/>
                </a:cubicBezTo>
                <a:cubicBezTo>
                  <a:pt x="154" y="86"/>
                  <a:pt x="155" y="93"/>
                  <a:pt x="161" y="98"/>
                </a:cubicBezTo>
                <a:cubicBezTo>
                  <a:pt x="167" y="103"/>
                  <a:pt x="179" y="106"/>
                  <a:pt x="191" y="112"/>
                </a:cubicBezTo>
                <a:cubicBezTo>
                  <a:pt x="233" y="136"/>
                  <a:pt x="212" y="122"/>
                  <a:pt x="233" y="134"/>
                </a:cubicBezTo>
                <a:cubicBezTo>
                  <a:pt x="243" y="144"/>
                  <a:pt x="242" y="149"/>
                  <a:pt x="247" y="158"/>
                </a:cubicBezTo>
                <a:cubicBezTo>
                  <a:pt x="252" y="167"/>
                  <a:pt x="259" y="180"/>
                  <a:pt x="265" y="188"/>
                </a:cubicBezTo>
                <a:cubicBezTo>
                  <a:pt x="270" y="197"/>
                  <a:pt x="279" y="201"/>
                  <a:pt x="283" y="208"/>
                </a:cubicBezTo>
                <a:cubicBezTo>
                  <a:pt x="287" y="215"/>
                  <a:pt x="286" y="221"/>
                  <a:pt x="291" y="228"/>
                </a:cubicBezTo>
                <a:cubicBezTo>
                  <a:pt x="298" y="240"/>
                  <a:pt x="304" y="247"/>
                  <a:pt x="313" y="252"/>
                </a:cubicBezTo>
                <a:cubicBezTo>
                  <a:pt x="322" y="257"/>
                  <a:pt x="332" y="256"/>
                  <a:pt x="345" y="258"/>
                </a:cubicBezTo>
                <a:cubicBezTo>
                  <a:pt x="358" y="260"/>
                  <a:pt x="390" y="257"/>
                  <a:pt x="393" y="262"/>
                </a:cubicBezTo>
                <a:cubicBezTo>
                  <a:pt x="396" y="267"/>
                  <a:pt x="366" y="277"/>
                  <a:pt x="363" y="286"/>
                </a:cubicBezTo>
                <a:cubicBezTo>
                  <a:pt x="371" y="295"/>
                  <a:pt x="368" y="314"/>
                  <a:pt x="375" y="316"/>
                </a:cubicBezTo>
                <a:cubicBezTo>
                  <a:pt x="382" y="318"/>
                  <a:pt x="397" y="303"/>
                  <a:pt x="407" y="298"/>
                </a:cubicBezTo>
                <a:cubicBezTo>
                  <a:pt x="417" y="293"/>
                  <a:pt x="425" y="286"/>
                  <a:pt x="435" y="284"/>
                </a:cubicBezTo>
                <a:cubicBezTo>
                  <a:pt x="445" y="282"/>
                  <a:pt x="460" y="281"/>
                  <a:pt x="469" y="284"/>
                </a:cubicBezTo>
                <a:cubicBezTo>
                  <a:pt x="470" y="294"/>
                  <a:pt x="487" y="295"/>
                  <a:pt x="487" y="304"/>
                </a:cubicBezTo>
                <a:cubicBezTo>
                  <a:pt x="487" y="313"/>
                  <a:pt x="470" y="326"/>
                  <a:pt x="471" y="340"/>
                </a:cubicBezTo>
                <a:cubicBezTo>
                  <a:pt x="472" y="354"/>
                  <a:pt x="495" y="378"/>
                  <a:pt x="493" y="388"/>
                </a:cubicBezTo>
                <a:cubicBezTo>
                  <a:pt x="491" y="398"/>
                  <a:pt x="466" y="394"/>
                  <a:pt x="457" y="400"/>
                </a:cubicBezTo>
                <a:cubicBezTo>
                  <a:pt x="448" y="406"/>
                  <a:pt x="446" y="418"/>
                  <a:pt x="439" y="422"/>
                </a:cubicBezTo>
                <a:cubicBezTo>
                  <a:pt x="432" y="426"/>
                  <a:pt x="426" y="420"/>
                  <a:pt x="417" y="422"/>
                </a:cubicBezTo>
                <a:cubicBezTo>
                  <a:pt x="408" y="424"/>
                  <a:pt x="395" y="432"/>
                  <a:pt x="383" y="434"/>
                </a:cubicBezTo>
                <a:cubicBezTo>
                  <a:pt x="371" y="436"/>
                  <a:pt x="357" y="433"/>
                  <a:pt x="345" y="434"/>
                </a:cubicBezTo>
                <a:cubicBezTo>
                  <a:pt x="333" y="435"/>
                  <a:pt x="319" y="439"/>
                  <a:pt x="311" y="440"/>
                </a:cubicBezTo>
                <a:cubicBezTo>
                  <a:pt x="303" y="441"/>
                  <a:pt x="303" y="440"/>
                  <a:pt x="295" y="442"/>
                </a:cubicBezTo>
                <a:cubicBezTo>
                  <a:pt x="287" y="444"/>
                  <a:pt x="275" y="448"/>
                  <a:pt x="261" y="454"/>
                </a:cubicBezTo>
                <a:cubicBezTo>
                  <a:pt x="259" y="463"/>
                  <a:pt x="269" y="452"/>
                  <a:pt x="265" y="454"/>
                </a:cubicBezTo>
                <a:cubicBezTo>
                  <a:pt x="261" y="456"/>
                  <a:pt x="245" y="465"/>
                  <a:pt x="239" y="466"/>
                </a:cubicBezTo>
                <a:cubicBezTo>
                  <a:pt x="232" y="467"/>
                  <a:pt x="237" y="467"/>
                  <a:pt x="227" y="462"/>
                </a:cubicBezTo>
                <a:cubicBezTo>
                  <a:pt x="218" y="441"/>
                  <a:pt x="213" y="446"/>
                  <a:pt x="207" y="440"/>
                </a:cubicBezTo>
                <a:cubicBezTo>
                  <a:pt x="201" y="434"/>
                  <a:pt x="200" y="428"/>
                  <a:pt x="191" y="424"/>
                </a:cubicBezTo>
                <a:cubicBezTo>
                  <a:pt x="182" y="420"/>
                  <a:pt x="161" y="421"/>
                  <a:pt x="151" y="414"/>
                </a:cubicBezTo>
                <a:cubicBezTo>
                  <a:pt x="146" y="404"/>
                  <a:pt x="134" y="394"/>
                  <a:pt x="129" y="382"/>
                </a:cubicBezTo>
                <a:cubicBezTo>
                  <a:pt x="124" y="370"/>
                  <a:pt x="124" y="355"/>
                  <a:pt x="121" y="342"/>
                </a:cubicBezTo>
                <a:cubicBezTo>
                  <a:pt x="112" y="335"/>
                  <a:pt x="116" y="317"/>
                  <a:pt x="109" y="306"/>
                </a:cubicBezTo>
                <a:cubicBezTo>
                  <a:pt x="102" y="295"/>
                  <a:pt x="91" y="287"/>
                  <a:pt x="81" y="278"/>
                </a:cubicBezTo>
                <a:cubicBezTo>
                  <a:pt x="76" y="271"/>
                  <a:pt x="58" y="263"/>
                  <a:pt x="47" y="254"/>
                </a:cubicBezTo>
                <a:cubicBezTo>
                  <a:pt x="36" y="245"/>
                  <a:pt x="21" y="234"/>
                  <a:pt x="15" y="222"/>
                </a:cubicBezTo>
                <a:cubicBezTo>
                  <a:pt x="0" y="206"/>
                  <a:pt x="9" y="197"/>
                  <a:pt x="11" y="182"/>
                </a:cubicBezTo>
                <a:close/>
              </a:path>
            </a:pathLst>
          </a:custGeom>
          <a:solidFill>
            <a:srgbClr val="FFCD0F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 dirty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21" name="Freeform 13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2373383" y="2717329"/>
            <a:ext cx="61546" cy="82550"/>
          </a:xfrm>
          <a:custGeom>
            <a:avLst/>
            <a:gdLst>
              <a:gd name="T0" fmla="*/ 43 w 43"/>
              <a:gd name="T1" fmla="*/ 29 h 47"/>
              <a:gd name="T2" fmla="*/ 8 w 43"/>
              <a:gd name="T3" fmla="*/ 7 h 47"/>
              <a:gd name="T4" fmla="*/ 21 w 43"/>
              <a:gd name="T5" fmla="*/ 47 h 47"/>
              <a:gd name="T6" fmla="*/ 43 w 43"/>
              <a:gd name="T7" fmla="*/ 29 h 47"/>
              <a:gd name="T8" fmla="*/ 0 60000 65536"/>
              <a:gd name="T9" fmla="*/ 0 60000 65536"/>
              <a:gd name="T10" fmla="*/ 0 60000 65536"/>
              <a:gd name="T11" fmla="*/ 0 60000 65536"/>
              <a:gd name="T12" fmla="*/ 0 w 43"/>
              <a:gd name="T13" fmla="*/ 0 h 47"/>
              <a:gd name="T14" fmla="*/ 43 w 43"/>
              <a:gd name="T15" fmla="*/ 47 h 4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3" h="47">
                <a:moveTo>
                  <a:pt x="43" y="29"/>
                </a:moveTo>
                <a:cubicBezTo>
                  <a:pt x="36" y="6"/>
                  <a:pt x="32" y="0"/>
                  <a:pt x="8" y="7"/>
                </a:cubicBezTo>
                <a:cubicBezTo>
                  <a:pt x="0" y="27"/>
                  <a:pt x="4" y="35"/>
                  <a:pt x="21" y="47"/>
                </a:cubicBezTo>
                <a:cubicBezTo>
                  <a:pt x="39" y="40"/>
                  <a:pt x="31" y="46"/>
                  <a:pt x="43" y="29"/>
                </a:cubicBezTo>
                <a:close/>
              </a:path>
            </a:pathLst>
          </a:custGeom>
          <a:solidFill>
            <a:srgbClr val="75B2DD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22" name="Freeform 13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2358727" y="2823691"/>
            <a:ext cx="76200" cy="57150"/>
          </a:xfrm>
          <a:custGeom>
            <a:avLst/>
            <a:gdLst>
              <a:gd name="T0" fmla="*/ 54 w 54"/>
              <a:gd name="T1" fmla="*/ 9 h 33"/>
              <a:gd name="T2" fmla="*/ 10 w 54"/>
              <a:gd name="T3" fmla="*/ 4 h 33"/>
              <a:gd name="T4" fmla="*/ 45 w 54"/>
              <a:gd name="T5" fmla="*/ 22 h 33"/>
              <a:gd name="T6" fmla="*/ 54 w 54"/>
              <a:gd name="T7" fmla="*/ 9 h 33"/>
              <a:gd name="T8" fmla="*/ 0 60000 65536"/>
              <a:gd name="T9" fmla="*/ 0 60000 65536"/>
              <a:gd name="T10" fmla="*/ 0 60000 65536"/>
              <a:gd name="T11" fmla="*/ 0 60000 65536"/>
              <a:gd name="T12" fmla="*/ 0 w 54"/>
              <a:gd name="T13" fmla="*/ 0 h 33"/>
              <a:gd name="T14" fmla="*/ 54 w 54"/>
              <a:gd name="T15" fmla="*/ 33 h 3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4" h="33">
                <a:moveTo>
                  <a:pt x="54" y="9"/>
                </a:moveTo>
                <a:cubicBezTo>
                  <a:pt x="36" y="2"/>
                  <a:pt x="30" y="0"/>
                  <a:pt x="10" y="4"/>
                </a:cubicBezTo>
                <a:cubicBezTo>
                  <a:pt x="0" y="33"/>
                  <a:pt x="24" y="26"/>
                  <a:pt x="45" y="22"/>
                </a:cubicBezTo>
                <a:cubicBezTo>
                  <a:pt x="48" y="18"/>
                  <a:pt x="54" y="9"/>
                  <a:pt x="54" y="9"/>
                </a:cubicBezTo>
                <a:close/>
              </a:path>
            </a:pathLst>
          </a:custGeom>
          <a:solidFill>
            <a:srgbClr val="75B2DD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23" name="Freeform 13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2141851" y="2363316"/>
            <a:ext cx="191965" cy="260350"/>
          </a:xfrm>
          <a:custGeom>
            <a:avLst/>
            <a:gdLst>
              <a:gd name="T0" fmla="*/ 105 w 136"/>
              <a:gd name="T1" fmla="*/ 89 h 148"/>
              <a:gd name="T2" fmla="*/ 127 w 136"/>
              <a:gd name="T3" fmla="*/ 129 h 148"/>
              <a:gd name="T4" fmla="*/ 96 w 136"/>
              <a:gd name="T5" fmla="*/ 142 h 148"/>
              <a:gd name="T6" fmla="*/ 74 w 136"/>
              <a:gd name="T7" fmla="*/ 89 h 148"/>
              <a:gd name="T8" fmla="*/ 25 w 136"/>
              <a:gd name="T9" fmla="*/ 44 h 148"/>
              <a:gd name="T10" fmla="*/ 52 w 136"/>
              <a:gd name="T11" fmla="*/ 0 h 148"/>
              <a:gd name="T12" fmla="*/ 114 w 136"/>
              <a:gd name="T13" fmla="*/ 26 h 148"/>
              <a:gd name="T14" fmla="*/ 136 w 136"/>
              <a:gd name="T15" fmla="*/ 66 h 148"/>
              <a:gd name="T16" fmla="*/ 127 w 136"/>
              <a:gd name="T17" fmla="*/ 80 h 148"/>
              <a:gd name="T18" fmla="*/ 114 w 136"/>
              <a:gd name="T19" fmla="*/ 89 h 148"/>
              <a:gd name="T20" fmla="*/ 110 w 136"/>
              <a:gd name="T21" fmla="*/ 102 h 148"/>
              <a:gd name="T22" fmla="*/ 105 w 136"/>
              <a:gd name="T23" fmla="*/ 89 h 14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36"/>
              <a:gd name="T37" fmla="*/ 0 h 148"/>
              <a:gd name="T38" fmla="*/ 136 w 136"/>
              <a:gd name="T39" fmla="*/ 148 h 14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36" h="148">
                <a:moveTo>
                  <a:pt x="105" y="89"/>
                </a:moveTo>
                <a:cubicBezTo>
                  <a:pt x="119" y="103"/>
                  <a:pt x="122" y="110"/>
                  <a:pt x="127" y="129"/>
                </a:cubicBezTo>
                <a:cubicBezTo>
                  <a:pt x="121" y="148"/>
                  <a:pt x="114" y="147"/>
                  <a:pt x="96" y="142"/>
                </a:cubicBezTo>
                <a:cubicBezTo>
                  <a:pt x="84" y="125"/>
                  <a:pt x="83" y="107"/>
                  <a:pt x="74" y="89"/>
                </a:cubicBezTo>
                <a:cubicBezTo>
                  <a:pt x="65" y="70"/>
                  <a:pt x="42" y="56"/>
                  <a:pt x="25" y="44"/>
                </a:cubicBezTo>
                <a:cubicBezTo>
                  <a:pt x="0" y="7"/>
                  <a:pt x="9" y="5"/>
                  <a:pt x="52" y="0"/>
                </a:cubicBezTo>
                <a:cubicBezTo>
                  <a:pt x="77" y="5"/>
                  <a:pt x="93" y="12"/>
                  <a:pt x="114" y="26"/>
                </a:cubicBezTo>
                <a:cubicBezTo>
                  <a:pt x="135" y="57"/>
                  <a:pt x="129" y="43"/>
                  <a:pt x="136" y="66"/>
                </a:cubicBezTo>
                <a:cubicBezTo>
                  <a:pt x="133" y="71"/>
                  <a:pt x="131" y="76"/>
                  <a:pt x="127" y="80"/>
                </a:cubicBezTo>
                <a:cubicBezTo>
                  <a:pt x="123" y="84"/>
                  <a:pt x="117" y="85"/>
                  <a:pt x="114" y="89"/>
                </a:cubicBezTo>
                <a:cubicBezTo>
                  <a:pt x="111" y="93"/>
                  <a:pt x="115" y="102"/>
                  <a:pt x="110" y="102"/>
                </a:cubicBezTo>
                <a:cubicBezTo>
                  <a:pt x="105" y="102"/>
                  <a:pt x="107" y="93"/>
                  <a:pt x="105" y="89"/>
                </a:cubicBezTo>
                <a:close/>
              </a:path>
            </a:pathLst>
          </a:custGeom>
          <a:solidFill>
            <a:srgbClr val="75B2DD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24" name="Freeform 13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323558" y="2337920"/>
            <a:ext cx="150934" cy="79375"/>
          </a:xfrm>
          <a:custGeom>
            <a:avLst/>
            <a:gdLst>
              <a:gd name="T0" fmla="*/ 97 w 107"/>
              <a:gd name="T1" fmla="*/ 27 h 45"/>
              <a:gd name="T2" fmla="*/ 39 w 107"/>
              <a:gd name="T3" fmla="*/ 0 h 45"/>
              <a:gd name="T4" fmla="*/ 22 w 107"/>
              <a:gd name="T5" fmla="*/ 5 h 45"/>
              <a:gd name="T6" fmla="*/ 53 w 107"/>
              <a:gd name="T7" fmla="*/ 45 h 45"/>
              <a:gd name="T8" fmla="*/ 88 w 107"/>
              <a:gd name="T9" fmla="*/ 40 h 45"/>
              <a:gd name="T10" fmla="*/ 102 w 107"/>
              <a:gd name="T11" fmla="*/ 36 h 45"/>
              <a:gd name="T12" fmla="*/ 84 w 107"/>
              <a:gd name="T13" fmla="*/ 14 h 45"/>
              <a:gd name="T14" fmla="*/ 97 w 107"/>
              <a:gd name="T15" fmla="*/ 27 h 4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07"/>
              <a:gd name="T25" fmla="*/ 0 h 45"/>
              <a:gd name="T26" fmla="*/ 107 w 107"/>
              <a:gd name="T27" fmla="*/ 45 h 4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07" h="45">
                <a:moveTo>
                  <a:pt x="97" y="27"/>
                </a:moveTo>
                <a:cubicBezTo>
                  <a:pt x="82" y="5"/>
                  <a:pt x="63" y="8"/>
                  <a:pt x="39" y="0"/>
                </a:cubicBezTo>
                <a:cubicBezTo>
                  <a:pt x="33" y="2"/>
                  <a:pt x="27" y="1"/>
                  <a:pt x="22" y="5"/>
                </a:cubicBezTo>
                <a:cubicBezTo>
                  <a:pt x="0" y="23"/>
                  <a:pt x="44" y="39"/>
                  <a:pt x="53" y="45"/>
                </a:cubicBezTo>
                <a:cubicBezTo>
                  <a:pt x="65" y="43"/>
                  <a:pt x="76" y="42"/>
                  <a:pt x="88" y="40"/>
                </a:cubicBezTo>
                <a:cubicBezTo>
                  <a:pt x="93" y="39"/>
                  <a:pt x="100" y="40"/>
                  <a:pt x="102" y="36"/>
                </a:cubicBezTo>
                <a:cubicBezTo>
                  <a:pt x="107" y="23"/>
                  <a:pt x="84" y="2"/>
                  <a:pt x="84" y="14"/>
                </a:cubicBezTo>
                <a:cubicBezTo>
                  <a:pt x="84" y="20"/>
                  <a:pt x="93" y="23"/>
                  <a:pt x="97" y="27"/>
                </a:cubicBezTo>
                <a:close/>
              </a:path>
            </a:pathLst>
          </a:custGeom>
          <a:solidFill>
            <a:srgbClr val="75B2DD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25" name="Freeform 13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417345" y="2672879"/>
            <a:ext cx="87923" cy="57150"/>
          </a:xfrm>
          <a:custGeom>
            <a:avLst/>
            <a:gdLst>
              <a:gd name="T0" fmla="*/ 52 w 62"/>
              <a:gd name="T1" fmla="*/ 10 h 33"/>
              <a:gd name="T2" fmla="*/ 8 w 62"/>
              <a:gd name="T3" fmla="*/ 6 h 33"/>
              <a:gd name="T4" fmla="*/ 30 w 62"/>
              <a:gd name="T5" fmla="*/ 28 h 33"/>
              <a:gd name="T6" fmla="*/ 52 w 62"/>
              <a:gd name="T7" fmla="*/ 10 h 33"/>
              <a:gd name="T8" fmla="*/ 0 60000 65536"/>
              <a:gd name="T9" fmla="*/ 0 60000 65536"/>
              <a:gd name="T10" fmla="*/ 0 60000 65536"/>
              <a:gd name="T11" fmla="*/ 0 60000 65536"/>
              <a:gd name="T12" fmla="*/ 0 w 62"/>
              <a:gd name="T13" fmla="*/ 0 h 33"/>
              <a:gd name="T14" fmla="*/ 62 w 62"/>
              <a:gd name="T15" fmla="*/ 33 h 3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2" h="33">
                <a:moveTo>
                  <a:pt x="52" y="10"/>
                </a:moveTo>
                <a:cubicBezTo>
                  <a:pt x="33" y="4"/>
                  <a:pt x="29" y="0"/>
                  <a:pt x="8" y="6"/>
                </a:cubicBezTo>
                <a:cubicBezTo>
                  <a:pt x="0" y="27"/>
                  <a:pt x="12" y="23"/>
                  <a:pt x="30" y="28"/>
                </a:cubicBezTo>
                <a:cubicBezTo>
                  <a:pt x="62" y="23"/>
                  <a:pt x="60" y="33"/>
                  <a:pt x="52" y="10"/>
                </a:cubicBezTo>
                <a:close/>
              </a:path>
            </a:pathLst>
          </a:custGeom>
          <a:solidFill>
            <a:srgbClr val="75B2DD"/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lIns="90000" rIns="90000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26" name="Freeform 13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314768" y="1734670"/>
            <a:ext cx="482111" cy="906463"/>
          </a:xfrm>
          <a:custGeom>
            <a:avLst/>
            <a:gdLst>
              <a:gd name="T0" fmla="*/ 25 w 341"/>
              <a:gd name="T1" fmla="*/ 315 h 516"/>
              <a:gd name="T2" fmla="*/ 52 w 341"/>
              <a:gd name="T3" fmla="*/ 321 h 516"/>
              <a:gd name="T4" fmla="*/ 58 w 341"/>
              <a:gd name="T5" fmla="*/ 330 h 516"/>
              <a:gd name="T6" fmla="*/ 67 w 341"/>
              <a:gd name="T7" fmla="*/ 333 h 516"/>
              <a:gd name="T8" fmla="*/ 106 w 341"/>
              <a:gd name="T9" fmla="*/ 342 h 516"/>
              <a:gd name="T10" fmla="*/ 112 w 341"/>
              <a:gd name="T11" fmla="*/ 360 h 516"/>
              <a:gd name="T12" fmla="*/ 127 w 341"/>
              <a:gd name="T13" fmla="*/ 375 h 516"/>
              <a:gd name="T14" fmla="*/ 133 w 341"/>
              <a:gd name="T15" fmla="*/ 393 h 516"/>
              <a:gd name="T16" fmla="*/ 139 w 341"/>
              <a:gd name="T17" fmla="*/ 438 h 516"/>
              <a:gd name="T18" fmla="*/ 154 w 341"/>
              <a:gd name="T19" fmla="*/ 489 h 516"/>
              <a:gd name="T20" fmla="*/ 166 w 341"/>
              <a:gd name="T21" fmla="*/ 516 h 516"/>
              <a:gd name="T22" fmla="*/ 223 w 341"/>
              <a:gd name="T23" fmla="*/ 513 h 516"/>
              <a:gd name="T24" fmla="*/ 250 w 341"/>
              <a:gd name="T25" fmla="*/ 495 h 516"/>
              <a:gd name="T26" fmla="*/ 298 w 341"/>
              <a:gd name="T27" fmla="*/ 456 h 516"/>
              <a:gd name="T28" fmla="*/ 310 w 341"/>
              <a:gd name="T29" fmla="*/ 375 h 516"/>
              <a:gd name="T30" fmla="*/ 328 w 341"/>
              <a:gd name="T31" fmla="*/ 348 h 516"/>
              <a:gd name="T32" fmla="*/ 334 w 341"/>
              <a:gd name="T33" fmla="*/ 339 h 516"/>
              <a:gd name="T34" fmla="*/ 295 w 341"/>
              <a:gd name="T35" fmla="*/ 225 h 516"/>
              <a:gd name="T36" fmla="*/ 256 w 341"/>
              <a:gd name="T37" fmla="*/ 168 h 516"/>
              <a:gd name="T38" fmla="*/ 229 w 341"/>
              <a:gd name="T39" fmla="*/ 138 h 516"/>
              <a:gd name="T40" fmla="*/ 211 w 341"/>
              <a:gd name="T41" fmla="*/ 132 h 516"/>
              <a:gd name="T42" fmla="*/ 202 w 341"/>
              <a:gd name="T43" fmla="*/ 129 h 516"/>
              <a:gd name="T44" fmla="*/ 151 w 341"/>
              <a:gd name="T45" fmla="*/ 90 h 516"/>
              <a:gd name="T46" fmla="*/ 133 w 341"/>
              <a:gd name="T47" fmla="*/ 84 h 516"/>
              <a:gd name="T48" fmla="*/ 88 w 341"/>
              <a:gd name="T49" fmla="*/ 48 h 516"/>
              <a:gd name="T50" fmla="*/ 118 w 341"/>
              <a:gd name="T51" fmla="*/ 69 h 516"/>
              <a:gd name="T52" fmla="*/ 73 w 341"/>
              <a:gd name="T53" fmla="*/ 36 h 516"/>
              <a:gd name="T54" fmla="*/ 58 w 341"/>
              <a:gd name="T55" fmla="*/ 0 h 516"/>
              <a:gd name="T56" fmla="*/ 34 w 341"/>
              <a:gd name="T57" fmla="*/ 18 h 516"/>
              <a:gd name="T58" fmla="*/ 1 w 341"/>
              <a:gd name="T59" fmla="*/ 54 h 516"/>
              <a:gd name="T60" fmla="*/ 4 w 341"/>
              <a:gd name="T61" fmla="*/ 111 h 516"/>
              <a:gd name="T62" fmla="*/ 13 w 341"/>
              <a:gd name="T63" fmla="*/ 114 h 516"/>
              <a:gd name="T64" fmla="*/ 19 w 341"/>
              <a:gd name="T65" fmla="*/ 132 h 516"/>
              <a:gd name="T66" fmla="*/ 25 w 341"/>
              <a:gd name="T67" fmla="*/ 315 h 51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341"/>
              <a:gd name="T103" fmla="*/ 0 h 516"/>
              <a:gd name="T104" fmla="*/ 341 w 341"/>
              <a:gd name="T105" fmla="*/ 516 h 51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341" h="516">
                <a:moveTo>
                  <a:pt x="25" y="315"/>
                </a:moveTo>
                <a:cubicBezTo>
                  <a:pt x="34" y="318"/>
                  <a:pt x="44" y="317"/>
                  <a:pt x="52" y="321"/>
                </a:cubicBezTo>
                <a:cubicBezTo>
                  <a:pt x="55" y="323"/>
                  <a:pt x="55" y="328"/>
                  <a:pt x="58" y="330"/>
                </a:cubicBezTo>
                <a:cubicBezTo>
                  <a:pt x="60" y="332"/>
                  <a:pt x="64" y="332"/>
                  <a:pt x="67" y="333"/>
                </a:cubicBezTo>
                <a:cubicBezTo>
                  <a:pt x="72" y="349"/>
                  <a:pt x="91" y="338"/>
                  <a:pt x="106" y="342"/>
                </a:cubicBezTo>
                <a:cubicBezTo>
                  <a:pt x="108" y="345"/>
                  <a:pt x="110" y="357"/>
                  <a:pt x="112" y="360"/>
                </a:cubicBezTo>
                <a:cubicBezTo>
                  <a:pt x="113" y="363"/>
                  <a:pt x="125" y="372"/>
                  <a:pt x="127" y="375"/>
                </a:cubicBezTo>
                <a:cubicBezTo>
                  <a:pt x="131" y="381"/>
                  <a:pt x="133" y="393"/>
                  <a:pt x="133" y="393"/>
                </a:cubicBezTo>
                <a:cubicBezTo>
                  <a:pt x="135" y="418"/>
                  <a:pt x="127" y="420"/>
                  <a:pt x="139" y="438"/>
                </a:cubicBezTo>
                <a:cubicBezTo>
                  <a:pt x="143" y="478"/>
                  <a:pt x="136" y="462"/>
                  <a:pt x="154" y="489"/>
                </a:cubicBezTo>
                <a:cubicBezTo>
                  <a:pt x="159" y="497"/>
                  <a:pt x="166" y="516"/>
                  <a:pt x="166" y="516"/>
                </a:cubicBezTo>
                <a:cubicBezTo>
                  <a:pt x="185" y="515"/>
                  <a:pt x="204" y="516"/>
                  <a:pt x="223" y="513"/>
                </a:cubicBezTo>
                <a:cubicBezTo>
                  <a:pt x="234" y="511"/>
                  <a:pt x="237" y="498"/>
                  <a:pt x="250" y="495"/>
                </a:cubicBezTo>
                <a:cubicBezTo>
                  <a:pt x="254" y="451"/>
                  <a:pt x="260" y="460"/>
                  <a:pt x="298" y="456"/>
                </a:cubicBezTo>
                <a:cubicBezTo>
                  <a:pt x="299" y="435"/>
                  <a:pt x="301" y="398"/>
                  <a:pt x="310" y="375"/>
                </a:cubicBezTo>
                <a:cubicBezTo>
                  <a:pt x="310" y="375"/>
                  <a:pt x="325" y="353"/>
                  <a:pt x="328" y="348"/>
                </a:cubicBezTo>
                <a:cubicBezTo>
                  <a:pt x="330" y="345"/>
                  <a:pt x="334" y="339"/>
                  <a:pt x="334" y="339"/>
                </a:cubicBezTo>
                <a:cubicBezTo>
                  <a:pt x="333" y="302"/>
                  <a:pt x="341" y="240"/>
                  <a:pt x="295" y="225"/>
                </a:cubicBezTo>
                <a:cubicBezTo>
                  <a:pt x="289" y="208"/>
                  <a:pt x="273" y="174"/>
                  <a:pt x="256" y="168"/>
                </a:cubicBezTo>
                <a:cubicBezTo>
                  <a:pt x="251" y="161"/>
                  <a:pt x="236" y="141"/>
                  <a:pt x="229" y="138"/>
                </a:cubicBezTo>
                <a:cubicBezTo>
                  <a:pt x="223" y="135"/>
                  <a:pt x="217" y="134"/>
                  <a:pt x="211" y="132"/>
                </a:cubicBezTo>
                <a:cubicBezTo>
                  <a:pt x="208" y="131"/>
                  <a:pt x="202" y="129"/>
                  <a:pt x="202" y="129"/>
                </a:cubicBezTo>
                <a:cubicBezTo>
                  <a:pt x="193" y="116"/>
                  <a:pt x="167" y="95"/>
                  <a:pt x="151" y="90"/>
                </a:cubicBezTo>
                <a:cubicBezTo>
                  <a:pt x="145" y="88"/>
                  <a:pt x="138" y="88"/>
                  <a:pt x="133" y="84"/>
                </a:cubicBezTo>
                <a:cubicBezTo>
                  <a:pt x="124" y="78"/>
                  <a:pt x="97" y="54"/>
                  <a:pt x="88" y="48"/>
                </a:cubicBezTo>
                <a:cubicBezTo>
                  <a:pt x="85" y="46"/>
                  <a:pt x="118" y="69"/>
                  <a:pt x="118" y="69"/>
                </a:cubicBezTo>
                <a:cubicBezTo>
                  <a:pt x="109" y="56"/>
                  <a:pt x="89" y="40"/>
                  <a:pt x="73" y="36"/>
                </a:cubicBezTo>
                <a:cubicBezTo>
                  <a:pt x="63" y="21"/>
                  <a:pt x="76" y="6"/>
                  <a:pt x="58" y="0"/>
                </a:cubicBezTo>
                <a:cubicBezTo>
                  <a:pt x="47" y="4"/>
                  <a:pt x="44" y="11"/>
                  <a:pt x="34" y="18"/>
                </a:cubicBezTo>
                <a:cubicBezTo>
                  <a:pt x="27" y="38"/>
                  <a:pt x="17" y="43"/>
                  <a:pt x="1" y="54"/>
                </a:cubicBezTo>
                <a:cubicBezTo>
                  <a:pt x="2" y="73"/>
                  <a:pt x="0" y="92"/>
                  <a:pt x="4" y="111"/>
                </a:cubicBezTo>
                <a:cubicBezTo>
                  <a:pt x="5" y="114"/>
                  <a:pt x="11" y="111"/>
                  <a:pt x="13" y="114"/>
                </a:cubicBezTo>
                <a:cubicBezTo>
                  <a:pt x="17" y="119"/>
                  <a:pt x="19" y="132"/>
                  <a:pt x="19" y="132"/>
                </a:cubicBezTo>
                <a:cubicBezTo>
                  <a:pt x="22" y="204"/>
                  <a:pt x="27" y="239"/>
                  <a:pt x="25" y="31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19050">
            <a:solidFill>
              <a:srgbClr val="FFFFFF"/>
            </a:solidFill>
            <a:round/>
            <a:headEnd/>
            <a:tailEnd/>
          </a:ln>
        </p:spPr>
        <p:txBody>
          <a:bodyPr wrap="none" anchor="ctr"/>
          <a:lstStyle/>
          <a:p>
            <a:pPr defTabSz="457200" eaLnBrk="0" hangingPunct="0">
              <a:defRPr/>
            </a:pPr>
            <a:endParaRPr lang="en-US" sz="1050" kern="0">
              <a:solidFill>
                <a:srgbClr val="000000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27" name="Freeform 126"/>
          <p:cNvSpPr/>
          <p:nvPr/>
        </p:nvSpPr>
        <p:spPr>
          <a:xfrm>
            <a:off x="8681748" y="2626065"/>
            <a:ext cx="843588" cy="904858"/>
          </a:xfrm>
          <a:custGeom>
            <a:avLst/>
            <a:gdLst>
              <a:gd name="connsiteX0" fmla="*/ 862464 w 913887"/>
              <a:gd name="connsiteY0" fmla="*/ 645183 h 904858"/>
              <a:gd name="connsiteX1" fmla="*/ 912952 w 913887"/>
              <a:gd name="connsiteY1" fmla="*/ 892015 h 904858"/>
              <a:gd name="connsiteX2" fmla="*/ 817585 w 913887"/>
              <a:gd name="connsiteY2" fmla="*/ 863966 h 904858"/>
              <a:gd name="connsiteX3" fmla="*/ 739048 w 913887"/>
              <a:gd name="connsiteY3" fmla="*/ 813478 h 904858"/>
              <a:gd name="connsiteX4" fmla="*/ 688560 w 913887"/>
              <a:gd name="connsiteY4" fmla="*/ 819087 h 904858"/>
              <a:gd name="connsiteX5" fmla="*/ 621242 w 913887"/>
              <a:gd name="connsiteY5" fmla="*/ 802258 h 904858"/>
              <a:gd name="connsiteX6" fmla="*/ 621242 w 913887"/>
              <a:gd name="connsiteY6" fmla="*/ 740550 h 904858"/>
              <a:gd name="connsiteX7" fmla="*/ 615632 w 913887"/>
              <a:gd name="connsiteY7" fmla="*/ 667622 h 904858"/>
              <a:gd name="connsiteX8" fmla="*/ 587583 w 913887"/>
              <a:gd name="connsiteY8" fmla="*/ 662013 h 904858"/>
              <a:gd name="connsiteX9" fmla="*/ 553924 w 913887"/>
              <a:gd name="connsiteY9" fmla="*/ 768599 h 904858"/>
              <a:gd name="connsiteX10" fmla="*/ 525875 w 913887"/>
              <a:gd name="connsiteY10" fmla="*/ 824697 h 904858"/>
              <a:gd name="connsiteX11" fmla="*/ 452947 w 913887"/>
              <a:gd name="connsiteY11" fmla="*/ 852746 h 904858"/>
              <a:gd name="connsiteX12" fmla="*/ 424898 w 913887"/>
              <a:gd name="connsiteY12" fmla="*/ 875186 h 904858"/>
              <a:gd name="connsiteX13" fmla="*/ 408069 w 913887"/>
              <a:gd name="connsiteY13" fmla="*/ 779819 h 904858"/>
              <a:gd name="connsiteX14" fmla="*/ 408069 w 913887"/>
              <a:gd name="connsiteY14" fmla="*/ 718111 h 904858"/>
              <a:gd name="connsiteX15" fmla="*/ 385630 w 913887"/>
              <a:gd name="connsiteY15" fmla="*/ 678842 h 904858"/>
              <a:gd name="connsiteX16" fmla="*/ 290263 w 913887"/>
              <a:gd name="connsiteY16" fmla="*/ 633963 h 904858"/>
              <a:gd name="connsiteX17" fmla="*/ 267823 w 913887"/>
              <a:gd name="connsiteY17" fmla="*/ 572256 h 904858"/>
              <a:gd name="connsiteX18" fmla="*/ 318312 w 913887"/>
              <a:gd name="connsiteY18" fmla="*/ 544206 h 904858"/>
              <a:gd name="connsiteX19" fmla="*/ 402459 w 913887"/>
              <a:gd name="connsiteY19" fmla="*/ 538597 h 904858"/>
              <a:gd name="connsiteX20" fmla="*/ 525875 w 913887"/>
              <a:gd name="connsiteY20" fmla="*/ 499328 h 904858"/>
              <a:gd name="connsiteX21" fmla="*/ 621242 w 913887"/>
              <a:gd name="connsiteY21" fmla="*/ 465669 h 904858"/>
              <a:gd name="connsiteX22" fmla="*/ 632462 w 913887"/>
              <a:gd name="connsiteY22" fmla="*/ 437620 h 904858"/>
              <a:gd name="connsiteX23" fmla="*/ 593193 w 913887"/>
              <a:gd name="connsiteY23" fmla="*/ 403961 h 904858"/>
              <a:gd name="connsiteX24" fmla="*/ 514655 w 913887"/>
              <a:gd name="connsiteY24" fmla="*/ 409571 h 904858"/>
              <a:gd name="connsiteX25" fmla="*/ 301482 w 913887"/>
              <a:gd name="connsiteY25" fmla="*/ 454449 h 904858"/>
              <a:gd name="connsiteX26" fmla="*/ 222945 w 913887"/>
              <a:gd name="connsiteY26" fmla="*/ 359083 h 904858"/>
              <a:gd name="connsiteX27" fmla="*/ 189286 w 913887"/>
              <a:gd name="connsiteY27" fmla="*/ 336643 h 904858"/>
              <a:gd name="connsiteX28" fmla="*/ 206116 w 913887"/>
              <a:gd name="connsiteY28" fmla="*/ 302984 h 904858"/>
              <a:gd name="connsiteX29" fmla="*/ 178066 w 913887"/>
              <a:gd name="connsiteY29" fmla="*/ 263716 h 904858"/>
              <a:gd name="connsiteX30" fmla="*/ 54650 w 913887"/>
              <a:gd name="connsiteY30" fmla="*/ 230057 h 904858"/>
              <a:gd name="connsiteX31" fmla="*/ 9772 w 913887"/>
              <a:gd name="connsiteY31" fmla="*/ 218837 h 904858"/>
              <a:gd name="connsiteX32" fmla="*/ 4162 w 913887"/>
              <a:gd name="connsiteY32" fmla="*/ 185178 h 904858"/>
              <a:gd name="connsiteX33" fmla="*/ 60260 w 913887"/>
              <a:gd name="connsiteY33" fmla="*/ 162739 h 904858"/>
              <a:gd name="connsiteX34" fmla="*/ 110749 w 913887"/>
              <a:gd name="connsiteY34" fmla="*/ 101031 h 904858"/>
              <a:gd name="connsiteX35" fmla="*/ 155627 w 913887"/>
              <a:gd name="connsiteY35" fmla="*/ 72982 h 904858"/>
              <a:gd name="connsiteX36" fmla="*/ 250994 w 913887"/>
              <a:gd name="connsiteY36" fmla="*/ 72982 h 904858"/>
              <a:gd name="connsiteX37" fmla="*/ 323922 w 913887"/>
              <a:gd name="connsiteY37" fmla="*/ 22494 h 904858"/>
              <a:gd name="connsiteX38" fmla="*/ 402459 w 913887"/>
              <a:gd name="connsiteY38" fmla="*/ 54 h 904858"/>
              <a:gd name="connsiteX39" fmla="*/ 464167 w 913887"/>
              <a:gd name="connsiteY39" fmla="*/ 28103 h 904858"/>
              <a:gd name="connsiteX40" fmla="*/ 638071 w 913887"/>
              <a:gd name="connsiteY40" fmla="*/ 89811 h 904858"/>
              <a:gd name="connsiteX41" fmla="*/ 716609 w 913887"/>
              <a:gd name="connsiteY41" fmla="*/ 151519 h 904858"/>
              <a:gd name="connsiteX42" fmla="*/ 705389 w 913887"/>
              <a:gd name="connsiteY42" fmla="*/ 353473 h 904858"/>
              <a:gd name="connsiteX43" fmla="*/ 694170 w 913887"/>
              <a:gd name="connsiteY43" fmla="*/ 454449 h 904858"/>
              <a:gd name="connsiteX44" fmla="*/ 705389 w 913887"/>
              <a:gd name="connsiteY44" fmla="*/ 493718 h 904858"/>
              <a:gd name="connsiteX45" fmla="*/ 772707 w 913887"/>
              <a:gd name="connsiteY45" fmla="*/ 488108 h 904858"/>
              <a:gd name="connsiteX46" fmla="*/ 800756 w 913887"/>
              <a:gd name="connsiteY46" fmla="*/ 561036 h 904858"/>
              <a:gd name="connsiteX47" fmla="*/ 862464 w 913887"/>
              <a:gd name="connsiteY47" fmla="*/ 645183 h 904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913887" h="904858">
                <a:moveTo>
                  <a:pt x="862464" y="645183"/>
                </a:moveTo>
                <a:cubicBezTo>
                  <a:pt x="881163" y="700346"/>
                  <a:pt x="920432" y="855551"/>
                  <a:pt x="912952" y="892015"/>
                </a:cubicBezTo>
                <a:cubicBezTo>
                  <a:pt x="905472" y="928479"/>
                  <a:pt x="846569" y="877055"/>
                  <a:pt x="817585" y="863966"/>
                </a:cubicBezTo>
                <a:cubicBezTo>
                  <a:pt x="788601" y="850877"/>
                  <a:pt x="760552" y="820958"/>
                  <a:pt x="739048" y="813478"/>
                </a:cubicBezTo>
                <a:cubicBezTo>
                  <a:pt x="717544" y="805998"/>
                  <a:pt x="708194" y="820957"/>
                  <a:pt x="688560" y="819087"/>
                </a:cubicBezTo>
                <a:cubicBezTo>
                  <a:pt x="668926" y="817217"/>
                  <a:pt x="632462" y="815348"/>
                  <a:pt x="621242" y="802258"/>
                </a:cubicBezTo>
                <a:cubicBezTo>
                  <a:pt x="610022" y="789168"/>
                  <a:pt x="622177" y="762989"/>
                  <a:pt x="621242" y="740550"/>
                </a:cubicBezTo>
                <a:cubicBezTo>
                  <a:pt x="620307" y="718111"/>
                  <a:pt x="621242" y="680712"/>
                  <a:pt x="615632" y="667622"/>
                </a:cubicBezTo>
                <a:cubicBezTo>
                  <a:pt x="610022" y="654533"/>
                  <a:pt x="597868" y="645184"/>
                  <a:pt x="587583" y="662013"/>
                </a:cubicBezTo>
                <a:cubicBezTo>
                  <a:pt x="577298" y="678842"/>
                  <a:pt x="564209" y="741485"/>
                  <a:pt x="553924" y="768599"/>
                </a:cubicBezTo>
                <a:cubicBezTo>
                  <a:pt x="543639" y="795713"/>
                  <a:pt x="542704" y="810673"/>
                  <a:pt x="525875" y="824697"/>
                </a:cubicBezTo>
                <a:cubicBezTo>
                  <a:pt x="509046" y="838721"/>
                  <a:pt x="469777" y="844331"/>
                  <a:pt x="452947" y="852746"/>
                </a:cubicBezTo>
                <a:cubicBezTo>
                  <a:pt x="436117" y="861161"/>
                  <a:pt x="432378" y="887341"/>
                  <a:pt x="424898" y="875186"/>
                </a:cubicBezTo>
                <a:cubicBezTo>
                  <a:pt x="417418" y="863032"/>
                  <a:pt x="410874" y="805998"/>
                  <a:pt x="408069" y="779819"/>
                </a:cubicBezTo>
                <a:cubicBezTo>
                  <a:pt x="405264" y="753640"/>
                  <a:pt x="411809" y="734940"/>
                  <a:pt x="408069" y="718111"/>
                </a:cubicBezTo>
                <a:cubicBezTo>
                  <a:pt x="404329" y="701282"/>
                  <a:pt x="405264" y="692867"/>
                  <a:pt x="385630" y="678842"/>
                </a:cubicBezTo>
                <a:cubicBezTo>
                  <a:pt x="365996" y="664817"/>
                  <a:pt x="309897" y="651727"/>
                  <a:pt x="290263" y="633963"/>
                </a:cubicBezTo>
                <a:cubicBezTo>
                  <a:pt x="270628" y="616199"/>
                  <a:pt x="263148" y="587215"/>
                  <a:pt x="267823" y="572256"/>
                </a:cubicBezTo>
                <a:cubicBezTo>
                  <a:pt x="272498" y="557296"/>
                  <a:pt x="295873" y="549816"/>
                  <a:pt x="318312" y="544206"/>
                </a:cubicBezTo>
                <a:cubicBezTo>
                  <a:pt x="340751" y="538596"/>
                  <a:pt x="367865" y="546077"/>
                  <a:pt x="402459" y="538597"/>
                </a:cubicBezTo>
                <a:cubicBezTo>
                  <a:pt x="437053" y="531117"/>
                  <a:pt x="489411" y="511483"/>
                  <a:pt x="525875" y="499328"/>
                </a:cubicBezTo>
                <a:cubicBezTo>
                  <a:pt x="562339" y="487173"/>
                  <a:pt x="603478" y="475954"/>
                  <a:pt x="621242" y="465669"/>
                </a:cubicBezTo>
                <a:cubicBezTo>
                  <a:pt x="639006" y="455384"/>
                  <a:pt x="637137" y="447905"/>
                  <a:pt x="632462" y="437620"/>
                </a:cubicBezTo>
                <a:cubicBezTo>
                  <a:pt x="627787" y="427335"/>
                  <a:pt x="612827" y="408636"/>
                  <a:pt x="593193" y="403961"/>
                </a:cubicBezTo>
                <a:cubicBezTo>
                  <a:pt x="573559" y="399286"/>
                  <a:pt x="563273" y="401156"/>
                  <a:pt x="514655" y="409571"/>
                </a:cubicBezTo>
                <a:cubicBezTo>
                  <a:pt x="466037" y="417986"/>
                  <a:pt x="350100" y="462864"/>
                  <a:pt x="301482" y="454449"/>
                </a:cubicBezTo>
                <a:cubicBezTo>
                  <a:pt x="252864" y="446034"/>
                  <a:pt x="241644" y="378717"/>
                  <a:pt x="222945" y="359083"/>
                </a:cubicBezTo>
                <a:cubicBezTo>
                  <a:pt x="204246" y="339449"/>
                  <a:pt x="192091" y="345993"/>
                  <a:pt x="189286" y="336643"/>
                </a:cubicBezTo>
                <a:cubicBezTo>
                  <a:pt x="186481" y="327293"/>
                  <a:pt x="207986" y="315138"/>
                  <a:pt x="206116" y="302984"/>
                </a:cubicBezTo>
                <a:cubicBezTo>
                  <a:pt x="204246" y="290830"/>
                  <a:pt x="203310" y="275870"/>
                  <a:pt x="178066" y="263716"/>
                </a:cubicBezTo>
                <a:cubicBezTo>
                  <a:pt x="152822" y="251561"/>
                  <a:pt x="82699" y="237537"/>
                  <a:pt x="54650" y="230057"/>
                </a:cubicBezTo>
                <a:cubicBezTo>
                  <a:pt x="26601" y="222577"/>
                  <a:pt x="18187" y="226317"/>
                  <a:pt x="9772" y="218837"/>
                </a:cubicBezTo>
                <a:cubicBezTo>
                  <a:pt x="1357" y="211357"/>
                  <a:pt x="-4253" y="194528"/>
                  <a:pt x="4162" y="185178"/>
                </a:cubicBezTo>
                <a:cubicBezTo>
                  <a:pt x="12577" y="175828"/>
                  <a:pt x="42496" y="176763"/>
                  <a:pt x="60260" y="162739"/>
                </a:cubicBezTo>
                <a:cubicBezTo>
                  <a:pt x="78024" y="148715"/>
                  <a:pt x="94855" y="115990"/>
                  <a:pt x="110749" y="101031"/>
                </a:cubicBezTo>
                <a:cubicBezTo>
                  <a:pt x="126643" y="86072"/>
                  <a:pt x="132253" y="77657"/>
                  <a:pt x="155627" y="72982"/>
                </a:cubicBezTo>
                <a:cubicBezTo>
                  <a:pt x="179001" y="68307"/>
                  <a:pt x="222945" y="81397"/>
                  <a:pt x="250994" y="72982"/>
                </a:cubicBezTo>
                <a:cubicBezTo>
                  <a:pt x="279043" y="64567"/>
                  <a:pt x="298678" y="34649"/>
                  <a:pt x="323922" y="22494"/>
                </a:cubicBezTo>
                <a:cubicBezTo>
                  <a:pt x="349166" y="10339"/>
                  <a:pt x="379085" y="-881"/>
                  <a:pt x="402459" y="54"/>
                </a:cubicBezTo>
                <a:cubicBezTo>
                  <a:pt x="425833" y="989"/>
                  <a:pt x="424898" y="13143"/>
                  <a:pt x="464167" y="28103"/>
                </a:cubicBezTo>
                <a:cubicBezTo>
                  <a:pt x="503436" y="43062"/>
                  <a:pt x="595997" y="69242"/>
                  <a:pt x="638071" y="89811"/>
                </a:cubicBezTo>
                <a:cubicBezTo>
                  <a:pt x="680145" y="110380"/>
                  <a:pt x="705389" y="107575"/>
                  <a:pt x="716609" y="151519"/>
                </a:cubicBezTo>
                <a:cubicBezTo>
                  <a:pt x="727829" y="195463"/>
                  <a:pt x="709129" y="302985"/>
                  <a:pt x="705389" y="353473"/>
                </a:cubicBezTo>
                <a:cubicBezTo>
                  <a:pt x="701649" y="403961"/>
                  <a:pt x="694170" y="431075"/>
                  <a:pt x="694170" y="454449"/>
                </a:cubicBezTo>
                <a:cubicBezTo>
                  <a:pt x="694170" y="477823"/>
                  <a:pt x="692299" y="488108"/>
                  <a:pt x="705389" y="493718"/>
                </a:cubicBezTo>
                <a:cubicBezTo>
                  <a:pt x="718478" y="499328"/>
                  <a:pt x="756813" y="476888"/>
                  <a:pt x="772707" y="488108"/>
                </a:cubicBezTo>
                <a:cubicBezTo>
                  <a:pt x="788601" y="499328"/>
                  <a:pt x="788601" y="537662"/>
                  <a:pt x="800756" y="561036"/>
                </a:cubicBezTo>
                <a:cubicBezTo>
                  <a:pt x="812911" y="584410"/>
                  <a:pt x="843765" y="590020"/>
                  <a:pt x="862464" y="645183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8" name="Freeform 127"/>
          <p:cNvSpPr/>
          <p:nvPr/>
        </p:nvSpPr>
        <p:spPr>
          <a:xfrm>
            <a:off x="9512736" y="2921645"/>
            <a:ext cx="837276" cy="1565874"/>
          </a:xfrm>
          <a:custGeom>
            <a:avLst/>
            <a:gdLst>
              <a:gd name="connsiteX0" fmla="*/ 2937 w 907049"/>
              <a:gd name="connsiteY0" fmla="*/ 376498 h 1565874"/>
              <a:gd name="connsiteX1" fmla="*/ 42206 w 907049"/>
              <a:gd name="connsiteY1" fmla="*/ 662598 h 1565874"/>
              <a:gd name="connsiteX2" fmla="*/ 255379 w 907049"/>
              <a:gd name="connsiteY2" fmla="*/ 746746 h 1565874"/>
              <a:gd name="connsiteX3" fmla="*/ 390014 w 907049"/>
              <a:gd name="connsiteY3" fmla="*/ 797234 h 1565874"/>
              <a:gd name="connsiteX4" fmla="*/ 457332 w 907049"/>
              <a:gd name="connsiteY4" fmla="*/ 825283 h 1565874"/>
              <a:gd name="connsiteX5" fmla="*/ 519040 w 907049"/>
              <a:gd name="connsiteY5" fmla="*/ 853332 h 1565874"/>
              <a:gd name="connsiteX6" fmla="*/ 563919 w 907049"/>
              <a:gd name="connsiteY6" fmla="*/ 903821 h 1565874"/>
              <a:gd name="connsiteX7" fmla="*/ 597577 w 907049"/>
              <a:gd name="connsiteY7" fmla="*/ 959919 h 1565874"/>
              <a:gd name="connsiteX8" fmla="*/ 653676 w 907049"/>
              <a:gd name="connsiteY8" fmla="*/ 1021627 h 1565874"/>
              <a:gd name="connsiteX9" fmla="*/ 670505 w 907049"/>
              <a:gd name="connsiteY9" fmla="*/ 1060895 h 1565874"/>
              <a:gd name="connsiteX10" fmla="*/ 681725 w 907049"/>
              <a:gd name="connsiteY10" fmla="*/ 1139433 h 1565874"/>
              <a:gd name="connsiteX11" fmla="*/ 715384 w 907049"/>
              <a:gd name="connsiteY11" fmla="*/ 1206751 h 1565874"/>
              <a:gd name="connsiteX12" fmla="*/ 765872 w 907049"/>
              <a:gd name="connsiteY12" fmla="*/ 1257239 h 1565874"/>
              <a:gd name="connsiteX13" fmla="*/ 799531 w 907049"/>
              <a:gd name="connsiteY13" fmla="*/ 1318947 h 1565874"/>
              <a:gd name="connsiteX14" fmla="*/ 821970 w 907049"/>
              <a:gd name="connsiteY14" fmla="*/ 1425533 h 1565874"/>
              <a:gd name="connsiteX15" fmla="*/ 844409 w 907049"/>
              <a:gd name="connsiteY15" fmla="*/ 1464802 h 1565874"/>
              <a:gd name="connsiteX16" fmla="*/ 782701 w 907049"/>
              <a:gd name="connsiteY16" fmla="*/ 1526510 h 1565874"/>
              <a:gd name="connsiteX17" fmla="*/ 754652 w 907049"/>
              <a:gd name="connsiteY17" fmla="*/ 1565779 h 1565874"/>
              <a:gd name="connsiteX18" fmla="*/ 855629 w 907049"/>
              <a:gd name="connsiteY18" fmla="*/ 1537730 h 1565874"/>
              <a:gd name="connsiteX19" fmla="*/ 906117 w 907049"/>
              <a:gd name="connsiteY19" fmla="*/ 1543340 h 1565874"/>
              <a:gd name="connsiteX20" fmla="*/ 889288 w 907049"/>
              <a:gd name="connsiteY20" fmla="*/ 1223580 h 1565874"/>
              <a:gd name="connsiteX21" fmla="*/ 900508 w 907049"/>
              <a:gd name="connsiteY21" fmla="*/ 993578 h 1565874"/>
              <a:gd name="connsiteX22" fmla="*/ 878068 w 907049"/>
              <a:gd name="connsiteY22" fmla="*/ 757965 h 1565874"/>
              <a:gd name="connsiteX23" fmla="*/ 883678 w 907049"/>
              <a:gd name="connsiteY23" fmla="*/ 567232 h 1565874"/>
              <a:gd name="connsiteX24" fmla="*/ 878068 w 907049"/>
              <a:gd name="connsiteY24" fmla="*/ 382108 h 1565874"/>
              <a:gd name="connsiteX25" fmla="*/ 889288 w 907049"/>
              <a:gd name="connsiteY25" fmla="*/ 292351 h 1565874"/>
              <a:gd name="connsiteX26" fmla="*/ 889288 w 907049"/>
              <a:gd name="connsiteY26" fmla="*/ 180154 h 1565874"/>
              <a:gd name="connsiteX27" fmla="*/ 872458 w 907049"/>
              <a:gd name="connsiteY27" fmla="*/ 146495 h 1565874"/>
              <a:gd name="connsiteX28" fmla="*/ 754652 w 907049"/>
              <a:gd name="connsiteY28" fmla="*/ 96007 h 1565874"/>
              <a:gd name="connsiteX29" fmla="*/ 676115 w 907049"/>
              <a:gd name="connsiteY29" fmla="*/ 34299 h 1565874"/>
              <a:gd name="connsiteX30" fmla="*/ 591968 w 907049"/>
              <a:gd name="connsiteY30" fmla="*/ 640 h 1565874"/>
              <a:gd name="connsiteX31" fmla="*/ 502211 w 907049"/>
              <a:gd name="connsiteY31" fmla="*/ 17470 h 1565874"/>
              <a:gd name="connsiteX32" fmla="*/ 446112 w 907049"/>
              <a:gd name="connsiteY32" fmla="*/ 79178 h 1565874"/>
              <a:gd name="connsiteX33" fmla="*/ 322696 w 907049"/>
              <a:gd name="connsiteY33" fmla="*/ 129666 h 1565874"/>
              <a:gd name="connsiteX34" fmla="*/ 300257 w 907049"/>
              <a:gd name="connsiteY34" fmla="*/ 225033 h 1565874"/>
              <a:gd name="connsiteX35" fmla="*/ 221720 w 907049"/>
              <a:gd name="connsiteY35" fmla="*/ 309180 h 1565874"/>
              <a:gd name="connsiteX36" fmla="*/ 148792 w 907049"/>
              <a:gd name="connsiteY36" fmla="*/ 359668 h 1565874"/>
              <a:gd name="connsiteX37" fmla="*/ 87084 w 907049"/>
              <a:gd name="connsiteY37" fmla="*/ 393327 h 1565874"/>
              <a:gd name="connsiteX38" fmla="*/ 2937 w 907049"/>
              <a:gd name="connsiteY38" fmla="*/ 376498 h 1565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907049" h="1565874">
                <a:moveTo>
                  <a:pt x="2937" y="376498"/>
                </a:moveTo>
                <a:cubicBezTo>
                  <a:pt x="-4543" y="421376"/>
                  <a:pt x="132" y="600890"/>
                  <a:pt x="42206" y="662598"/>
                </a:cubicBezTo>
                <a:cubicBezTo>
                  <a:pt x="84280" y="724306"/>
                  <a:pt x="197411" y="724307"/>
                  <a:pt x="255379" y="746746"/>
                </a:cubicBezTo>
                <a:cubicBezTo>
                  <a:pt x="313347" y="769185"/>
                  <a:pt x="356355" y="784145"/>
                  <a:pt x="390014" y="797234"/>
                </a:cubicBezTo>
                <a:cubicBezTo>
                  <a:pt x="423673" y="810323"/>
                  <a:pt x="435828" y="815933"/>
                  <a:pt x="457332" y="825283"/>
                </a:cubicBezTo>
                <a:cubicBezTo>
                  <a:pt x="478836" y="834633"/>
                  <a:pt x="501276" y="840242"/>
                  <a:pt x="519040" y="853332"/>
                </a:cubicBezTo>
                <a:cubicBezTo>
                  <a:pt x="536804" y="866422"/>
                  <a:pt x="550830" y="886057"/>
                  <a:pt x="563919" y="903821"/>
                </a:cubicBezTo>
                <a:cubicBezTo>
                  <a:pt x="577009" y="921586"/>
                  <a:pt x="582618" y="940285"/>
                  <a:pt x="597577" y="959919"/>
                </a:cubicBezTo>
                <a:cubicBezTo>
                  <a:pt x="612536" y="979553"/>
                  <a:pt x="641521" y="1004798"/>
                  <a:pt x="653676" y="1021627"/>
                </a:cubicBezTo>
                <a:cubicBezTo>
                  <a:pt x="665831" y="1038456"/>
                  <a:pt x="665830" y="1041261"/>
                  <a:pt x="670505" y="1060895"/>
                </a:cubicBezTo>
                <a:cubicBezTo>
                  <a:pt x="675180" y="1080529"/>
                  <a:pt x="674245" y="1115124"/>
                  <a:pt x="681725" y="1139433"/>
                </a:cubicBezTo>
                <a:cubicBezTo>
                  <a:pt x="689205" y="1163742"/>
                  <a:pt x="701359" y="1187117"/>
                  <a:pt x="715384" y="1206751"/>
                </a:cubicBezTo>
                <a:cubicBezTo>
                  <a:pt x="729409" y="1226385"/>
                  <a:pt x="751848" y="1238540"/>
                  <a:pt x="765872" y="1257239"/>
                </a:cubicBezTo>
                <a:cubicBezTo>
                  <a:pt x="779896" y="1275938"/>
                  <a:pt x="790181" y="1290898"/>
                  <a:pt x="799531" y="1318947"/>
                </a:cubicBezTo>
                <a:cubicBezTo>
                  <a:pt x="808881" y="1346996"/>
                  <a:pt x="814490" y="1401224"/>
                  <a:pt x="821970" y="1425533"/>
                </a:cubicBezTo>
                <a:cubicBezTo>
                  <a:pt x="829450" y="1449842"/>
                  <a:pt x="850954" y="1447973"/>
                  <a:pt x="844409" y="1464802"/>
                </a:cubicBezTo>
                <a:cubicBezTo>
                  <a:pt x="837864" y="1481632"/>
                  <a:pt x="797661" y="1509681"/>
                  <a:pt x="782701" y="1526510"/>
                </a:cubicBezTo>
                <a:cubicBezTo>
                  <a:pt x="767742" y="1543340"/>
                  <a:pt x="742497" y="1563909"/>
                  <a:pt x="754652" y="1565779"/>
                </a:cubicBezTo>
                <a:cubicBezTo>
                  <a:pt x="766807" y="1567649"/>
                  <a:pt x="830385" y="1541470"/>
                  <a:pt x="855629" y="1537730"/>
                </a:cubicBezTo>
                <a:cubicBezTo>
                  <a:pt x="880873" y="1533990"/>
                  <a:pt x="900507" y="1595698"/>
                  <a:pt x="906117" y="1543340"/>
                </a:cubicBezTo>
                <a:cubicBezTo>
                  <a:pt x="911727" y="1490982"/>
                  <a:pt x="890223" y="1315207"/>
                  <a:pt x="889288" y="1223580"/>
                </a:cubicBezTo>
                <a:cubicBezTo>
                  <a:pt x="888353" y="1131953"/>
                  <a:pt x="902378" y="1071180"/>
                  <a:pt x="900508" y="993578"/>
                </a:cubicBezTo>
                <a:cubicBezTo>
                  <a:pt x="898638" y="915976"/>
                  <a:pt x="880873" y="829023"/>
                  <a:pt x="878068" y="757965"/>
                </a:cubicBezTo>
                <a:cubicBezTo>
                  <a:pt x="875263" y="686907"/>
                  <a:pt x="883678" y="629875"/>
                  <a:pt x="883678" y="567232"/>
                </a:cubicBezTo>
                <a:cubicBezTo>
                  <a:pt x="883678" y="504589"/>
                  <a:pt x="877133" y="427921"/>
                  <a:pt x="878068" y="382108"/>
                </a:cubicBezTo>
                <a:cubicBezTo>
                  <a:pt x="879003" y="336295"/>
                  <a:pt x="887418" y="326010"/>
                  <a:pt x="889288" y="292351"/>
                </a:cubicBezTo>
                <a:cubicBezTo>
                  <a:pt x="891158" y="258692"/>
                  <a:pt x="892093" y="204463"/>
                  <a:pt x="889288" y="180154"/>
                </a:cubicBezTo>
                <a:cubicBezTo>
                  <a:pt x="886483" y="155845"/>
                  <a:pt x="894897" y="160519"/>
                  <a:pt x="872458" y="146495"/>
                </a:cubicBezTo>
                <a:cubicBezTo>
                  <a:pt x="850019" y="132470"/>
                  <a:pt x="787376" y="114706"/>
                  <a:pt x="754652" y="96007"/>
                </a:cubicBezTo>
                <a:cubicBezTo>
                  <a:pt x="721928" y="77308"/>
                  <a:pt x="703229" y="50193"/>
                  <a:pt x="676115" y="34299"/>
                </a:cubicBezTo>
                <a:cubicBezTo>
                  <a:pt x="649001" y="18404"/>
                  <a:pt x="620952" y="3445"/>
                  <a:pt x="591968" y="640"/>
                </a:cubicBezTo>
                <a:cubicBezTo>
                  <a:pt x="562984" y="-2165"/>
                  <a:pt x="526520" y="4380"/>
                  <a:pt x="502211" y="17470"/>
                </a:cubicBezTo>
                <a:cubicBezTo>
                  <a:pt x="477902" y="30560"/>
                  <a:pt x="476031" y="60479"/>
                  <a:pt x="446112" y="79178"/>
                </a:cubicBezTo>
                <a:cubicBezTo>
                  <a:pt x="416193" y="97877"/>
                  <a:pt x="347005" y="105357"/>
                  <a:pt x="322696" y="129666"/>
                </a:cubicBezTo>
                <a:cubicBezTo>
                  <a:pt x="298387" y="153975"/>
                  <a:pt x="317086" y="195114"/>
                  <a:pt x="300257" y="225033"/>
                </a:cubicBezTo>
                <a:cubicBezTo>
                  <a:pt x="283428" y="254952"/>
                  <a:pt x="246964" y="286741"/>
                  <a:pt x="221720" y="309180"/>
                </a:cubicBezTo>
                <a:cubicBezTo>
                  <a:pt x="196476" y="331619"/>
                  <a:pt x="171231" y="345643"/>
                  <a:pt x="148792" y="359668"/>
                </a:cubicBezTo>
                <a:cubicBezTo>
                  <a:pt x="126353" y="373692"/>
                  <a:pt x="110458" y="390522"/>
                  <a:pt x="87084" y="393327"/>
                </a:cubicBezTo>
                <a:cubicBezTo>
                  <a:pt x="63710" y="396132"/>
                  <a:pt x="10417" y="331620"/>
                  <a:pt x="2937" y="376498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9" name="Flowchart: Connector 128"/>
          <p:cNvSpPr/>
          <p:nvPr/>
        </p:nvSpPr>
        <p:spPr>
          <a:xfrm>
            <a:off x="1974929" y="1555648"/>
            <a:ext cx="67525" cy="73152"/>
          </a:xfrm>
          <a:prstGeom prst="flowChartConnector">
            <a:avLst/>
          </a:prstGeom>
          <a:solidFill>
            <a:srgbClr val="FF99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0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2010801" y="1412212"/>
            <a:ext cx="869376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Helvetica Neue Light"/>
                <a:cs typeface="Helvetica Neue Light"/>
              </a:rPr>
              <a:t>Banda Aceh (KC)</a:t>
            </a:r>
          </a:p>
        </p:txBody>
      </p:sp>
      <p:sp>
        <p:nvSpPr>
          <p:cNvPr id="131" name="Flowchart: Connector 130"/>
          <p:cNvSpPr/>
          <p:nvPr/>
        </p:nvSpPr>
        <p:spPr>
          <a:xfrm>
            <a:off x="2399057" y="1916252"/>
            <a:ext cx="67525" cy="73152"/>
          </a:xfrm>
          <a:prstGeom prst="flowChartConnector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0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2465526" y="1700808"/>
            <a:ext cx="681355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Helvetica Neue Light"/>
                <a:cs typeface="Helvetica Neue Light"/>
              </a:rPr>
              <a:t>Medan</a:t>
            </a:r>
          </a:p>
        </p:txBody>
      </p:sp>
      <p:sp>
        <p:nvSpPr>
          <p:cNvPr id="133" name="Flowchart: Connector 132"/>
          <p:cNvSpPr/>
          <p:nvPr/>
        </p:nvSpPr>
        <p:spPr>
          <a:xfrm>
            <a:off x="2639618" y="2275728"/>
            <a:ext cx="67525" cy="73152"/>
          </a:xfrm>
          <a:prstGeom prst="flowChartConnector">
            <a:avLst/>
          </a:prstGeom>
          <a:solidFill>
            <a:srgbClr val="FF99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0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2767359" y="2056572"/>
            <a:ext cx="1420584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Pematang</a:t>
            </a:r>
            <a:r>
              <a:rPr lang="en-US" sz="900" dirty="0">
                <a:solidFill>
                  <a:prstClr val="black"/>
                </a:solidFill>
                <a:latin typeface="Helvetica Neue Light"/>
                <a:cs typeface="Helvetica Neue Light"/>
              </a:rPr>
              <a:t> </a:t>
            </a:r>
            <a:r>
              <a:rPr lang="en-US" sz="9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Siantar</a:t>
            </a:r>
            <a:r>
              <a:rPr lang="en-US" sz="900" dirty="0">
                <a:solidFill>
                  <a:prstClr val="black"/>
                </a:solidFill>
                <a:latin typeface="Helvetica Neue Light"/>
                <a:cs typeface="Helvetica Neue Light"/>
              </a:rPr>
              <a:t> (KC)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3105236" y="2315013"/>
            <a:ext cx="1034965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Pekanbaru</a:t>
            </a:r>
            <a:r>
              <a:rPr lang="en-US" sz="900" dirty="0">
                <a:solidFill>
                  <a:prstClr val="black"/>
                </a:solidFill>
                <a:latin typeface="Helvetica Neue Light"/>
                <a:cs typeface="Helvetica Neue Light"/>
              </a:rPr>
              <a:t> (KC)</a:t>
            </a:r>
          </a:p>
        </p:txBody>
      </p:sp>
      <p:sp>
        <p:nvSpPr>
          <p:cNvPr id="137" name="Flowchart: Connector 136"/>
          <p:cNvSpPr/>
          <p:nvPr/>
        </p:nvSpPr>
        <p:spPr>
          <a:xfrm>
            <a:off x="2837969" y="2420888"/>
            <a:ext cx="67525" cy="73152"/>
          </a:xfrm>
          <a:prstGeom prst="flowChartConnector">
            <a:avLst/>
          </a:prstGeom>
          <a:solidFill>
            <a:srgbClr val="FF99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0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8" name="Flowchart: Connector 137"/>
          <p:cNvSpPr/>
          <p:nvPr/>
        </p:nvSpPr>
        <p:spPr>
          <a:xfrm>
            <a:off x="2772556" y="2780928"/>
            <a:ext cx="67525" cy="73152"/>
          </a:xfrm>
          <a:prstGeom prst="flowChartConnector">
            <a:avLst/>
          </a:prstGeom>
          <a:solidFill>
            <a:srgbClr val="FF99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0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1714501" y="2705226"/>
            <a:ext cx="101600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Bukittinggi</a:t>
            </a:r>
            <a:r>
              <a:rPr lang="en-US" sz="900" dirty="0">
                <a:solidFill>
                  <a:prstClr val="black"/>
                </a:solidFill>
                <a:latin typeface="Helvetica Neue Light"/>
                <a:cs typeface="Helvetica Neue Light"/>
              </a:rPr>
              <a:t> (KCP)</a:t>
            </a:r>
          </a:p>
        </p:txBody>
      </p:sp>
      <p:sp>
        <p:nvSpPr>
          <p:cNvPr id="140" name="Flowchart: Connector 139"/>
          <p:cNvSpPr/>
          <p:nvPr/>
        </p:nvSpPr>
        <p:spPr>
          <a:xfrm>
            <a:off x="2839025" y="2996952"/>
            <a:ext cx="67525" cy="73152"/>
          </a:xfrm>
          <a:prstGeom prst="flowChartConnector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0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1" name="TextBox 140"/>
          <p:cNvSpPr txBox="1"/>
          <p:nvPr/>
        </p:nvSpPr>
        <p:spPr>
          <a:xfrm>
            <a:off x="2032005" y="2972125"/>
            <a:ext cx="1041400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Helvetica Neue Light"/>
                <a:cs typeface="Helvetica Neue Light"/>
              </a:rPr>
              <a:t>Padang  (KC)</a:t>
            </a:r>
          </a:p>
        </p:txBody>
      </p:sp>
      <p:sp>
        <p:nvSpPr>
          <p:cNvPr id="142" name="Flowchart: Connector 141"/>
          <p:cNvSpPr/>
          <p:nvPr/>
        </p:nvSpPr>
        <p:spPr>
          <a:xfrm>
            <a:off x="3139719" y="3140968"/>
            <a:ext cx="67525" cy="73152"/>
          </a:xfrm>
          <a:prstGeom prst="flowChartConnector">
            <a:avLst/>
          </a:prstGeom>
          <a:solidFill>
            <a:srgbClr val="FF99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0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3462507" y="2700618"/>
            <a:ext cx="762360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Helvetica Neue Light"/>
                <a:cs typeface="Helvetica Neue Light"/>
              </a:rPr>
              <a:t>Jambi (KC)</a:t>
            </a:r>
          </a:p>
        </p:txBody>
      </p:sp>
      <p:sp>
        <p:nvSpPr>
          <p:cNvPr id="144" name="Flowchart: Connector 143"/>
          <p:cNvSpPr/>
          <p:nvPr/>
        </p:nvSpPr>
        <p:spPr>
          <a:xfrm>
            <a:off x="3437245" y="3356992"/>
            <a:ext cx="67525" cy="73152"/>
          </a:xfrm>
          <a:prstGeom prst="flowChartConnector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0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3447416" y="3236574"/>
            <a:ext cx="1073784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Helvetica Neue Light"/>
                <a:cs typeface="Helvetica Neue Light"/>
              </a:rPr>
              <a:t>Palembang (KC)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2217195" y="3529335"/>
            <a:ext cx="89430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US" sz="900" dirty="0">
                <a:solidFill>
                  <a:prstClr val="black"/>
                </a:solidFill>
                <a:latin typeface="Helvetica Neue Light"/>
                <a:cs typeface="Helvetica Neue Light"/>
              </a:rPr>
              <a:t>Bengkulu (KC)</a:t>
            </a:r>
          </a:p>
        </p:txBody>
      </p:sp>
      <p:sp>
        <p:nvSpPr>
          <p:cNvPr id="147" name="Flowchart: Connector 146"/>
          <p:cNvSpPr/>
          <p:nvPr/>
        </p:nvSpPr>
        <p:spPr>
          <a:xfrm>
            <a:off x="3103843" y="3571872"/>
            <a:ext cx="67525" cy="73152"/>
          </a:xfrm>
          <a:prstGeom prst="flowChartConnector">
            <a:avLst/>
          </a:prstGeom>
          <a:solidFill>
            <a:srgbClr val="FF99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0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8" name="Flowchart: Connector 147"/>
          <p:cNvSpPr/>
          <p:nvPr/>
        </p:nvSpPr>
        <p:spPr>
          <a:xfrm>
            <a:off x="3636652" y="3738518"/>
            <a:ext cx="67525" cy="73152"/>
          </a:xfrm>
          <a:prstGeom prst="flowChartConnector">
            <a:avLst/>
          </a:prstGeom>
          <a:solidFill>
            <a:srgbClr val="FF99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sz="10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3582698" y="3618490"/>
            <a:ext cx="1471909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900" dirty="0">
                <a:solidFill>
                  <a:prstClr val="black"/>
                </a:solidFill>
                <a:latin typeface="Helvetica Neue Light"/>
                <a:cs typeface="Helvetica Neue Light"/>
              </a:rPr>
              <a:t>Bandar Lampung (KC)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4151422" y="2420797"/>
            <a:ext cx="1183502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900" dirty="0">
                <a:solidFill>
                  <a:prstClr val="black"/>
                </a:solidFill>
                <a:latin typeface="Helvetica Neue Light"/>
                <a:cs typeface="Helvetica Neue Light"/>
              </a:rPr>
              <a:t>Pontianak (KC)</a:t>
            </a:r>
          </a:p>
        </p:txBody>
      </p:sp>
      <p:sp>
        <p:nvSpPr>
          <p:cNvPr id="151" name="Flowchart: Connector 150"/>
          <p:cNvSpPr/>
          <p:nvPr/>
        </p:nvSpPr>
        <p:spPr>
          <a:xfrm>
            <a:off x="4493371" y="2635768"/>
            <a:ext cx="67525" cy="73152"/>
          </a:xfrm>
          <a:prstGeom prst="flowChartConnector">
            <a:avLst/>
          </a:prstGeom>
          <a:solidFill>
            <a:srgbClr val="FF99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5220814" y="3501008"/>
            <a:ext cx="87518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900" dirty="0">
                <a:solidFill>
                  <a:prstClr val="black"/>
                </a:solidFill>
                <a:latin typeface="Helvetica Neue Light"/>
                <a:cs typeface="Helvetica Neue Light"/>
              </a:rPr>
              <a:t>Banjarmasin (KC)</a:t>
            </a:r>
          </a:p>
        </p:txBody>
      </p:sp>
      <p:sp>
        <p:nvSpPr>
          <p:cNvPr id="153" name="Flowchart: Connector 152"/>
          <p:cNvSpPr/>
          <p:nvPr/>
        </p:nvSpPr>
        <p:spPr>
          <a:xfrm>
            <a:off x="5497782" y="3501008"/>
            <a:ext cx="67525" cy="73152"/>
          </a:xfrm>
          <a:prstGeom prst="flowChartConnector">
            <a:avLst/>
          </a:prstGeom>
          <a:solidFill>
            <a:srgbClr val="FF99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4" name="Flowchart: Connector 153"/>
          <p:cNvSpPr/>
          <p:nvPr/>
        </p:nvSpPr>
        <p:spPr>
          <a:xfrm>
            <a:off x="6361878" y="4003340"/>
            <a:ext cx="67525" cy="73152"/>
          </a:xfrm>
          <a:prstGeom prst="flowChartConnector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5" name="TextBox 154"/>
          <p:cNvSpPr txBox="1"/>
          <p:nvPr/>
        </p:nvSpPr>
        <p:spPr>
          <a:xfrm>
            <a:off x="6370309" y="3933056"/>
            <a:ext cx="756780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900" dirty="0">
                <a:solidFill>
                  <a:prstClr val="black"/>
                </a:solidFill>
                <a:latin typeface="Helvetica Neue Light"/>
                <a:cs typeface="Helvetica Neue Light"/>
              </a:rPr>
              <a:t>Makassar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6893628" y="2348880"/>
            <a:ext cx="974946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900" dirty="0">
                <a:solidFill>
                  <a:prstClr val="black"/>
                </a:solidFill>
                <a:latin typeface="Helvetica Neue Light"/>
                <a:cs typeface="Helvetica Neue Light"/>
              </a:rPr>
              <a:t>Manado (KC)</a:t>
            </a:r>
          </a:p>
        </p:txBody>
      </p:sp>
      <p:sp>
        <p:nvSpPr>
          <p:cNvPr id="157" name="Flowchart: Connector 156"/>
          <p:cNvSpPr/>
          <p:nvPr/>
        </p:nvSpPr>
        <p:spPr>
          <a:xfrm>
            <a:off x="7218596" y="2563760"/>
            <a:ext cx="67525" cy="73152"/>
          </a:xfrm>
          <a:prstGeom prst="flowChartConnector">
            <a:avLst/>
          </a:prstGeom>
          <a:solidFill>
            <a:srgbClr val="FF99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6967474" y="5086328"/>
            <a:ext cx="590843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9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Kupang</a:t>
            </a:r>
            <a:endParaRPr lang="en-US" sz="900" dirty="0">
              <a:solidFill>
                <a:prstClr val="black"/>
              </a:solidFill>
              <a:latin typeface="Helvetica Neue Light"/>
              <a:cs typeface="Helvetica Neue Light"/>
            </a:endParaRPr>
          </a:p>
        </p:txBody>
      </p:sp>
      <p:sp>
        <p:nvSpPr>
          <p:cNvPr id="159" name="Flowchart: Connector 158"/>
          <p:cNvSpPr/>
          <p:nvPr/>
        </p:nvSpPr>
        <p:spPr>
          <a:xfrm>
            <a:off x="7232295" y="5013176"/>
            <a:ext cx="67525" cy="73152"/>
          </a:xfrm>
          <a:prstGeom prst="flowChartConnector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0" name="Flowchart: Connector 159"/>
          <p:cNvSpPr/>
          <p:nvPr/>
        </p:nvSpPr>
        <p:spPr>
          <a:xfrm>
            <a:off x="5748541" y="4797152"/>
            <a:ext cx="67525" cy="73152"/>
          </a:xfrm>
          <a:prstGeom prst="flowChartConnector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1" name="TextBox 160"/>
          <p:cNvSpPr txBox="1"/>
          <p:nvPr/>
        </p:nvSpPr>
        <p:spPr>
          <a:xfrm>
            <a:off x="5497780" y="4833166"/>
            <a:ext cx="864096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9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Mataram</a:t>
            </a:r>
            <a:endParaRPr lang="en-US" sz="900" dirty="0">
              <a:solidFill>
                <a:prstClr val="black"/>
              </a:solidFill>
              <a:latin typeface="Helvetica Neue Light"/>
              <a:cs typeface="Helvetica Neue Light"/>
            </a:endParaRPr>
          </a:p>
        </p:txBody>
      </p:sp>
      <p:sp>
        <p:nvSpPr>
          <p:cNvPr id="162" name="Flowchart: Connector 161"/>
          <p:cNvSpPr/>
          <p:nvPr/>
        </p:nvSpPr>
        <p:spPr>
          <a:xfrm>
            <a:off x="5505159" y="4724000"/>
            <a:ext cx="67525" cy="73152"/>
          </a:xfrm>
          <a:prstGeom prst="flowChartConnector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163" name="Straight Connector 162"/>
          <p:cNvCxnSpPr/>
          <p:nvPr/>
        </p:nvCxnSpPr>
        <p:spPr>
          <a:xfrm>
            <a:off x="4500746" y="4149080"/>
            <a:ext cx="0" cy="178938"/>
          </a:xfrm>
          <a:prstGeom prst="line">
            <a:avLst/>
          </a:prstGeom>
          <a:ln>
            <a:solidFill>
              <a:srgbClr val="FF000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TextBox 163"/>
          <p:cNvSpPr txBox="1"/>
          <p:nvPr/>
        </p:nvSpPr>
        <p:spPr>
          <a:xfrm>
            <a:off x="4375984" y="3844394"/>
            <a:ext cx="124841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indent="-91440" defTabSz="457200">
              <a:buFont typeface="Arial" pitchFamily="34" charset="0"/>
              <a:buChar char="•"/>
            </a:pPr>
            <a:r>
              <a:rPr lang="en-US" sz="1000" dirty="0" err="1">
                <a:solidFill>
                  <a:srgbClr val="E46C0A"/>
                </a:solidFill>
                <a:latin typeface="Helvetica Neue Light"/>
                <a:cs typeface="Helvetica Neue Light"/>
              </a:rPr>
              <a:t>Pekalongan</a:t>
            </a:r>
            <a:r>
              <a:rPr lang="en-US" sz="1000" dirty="0">
                <a:solidFill>
                  <a:srgbClr val="E46C0A"/>
                </a:solidFill>
                <a:latin typeface="Helvetica Neue Light"/>
                <a:cs typeface="Helvetica Neue Light"/>
              </a:rPr>
              <a:t> (KC)</a:t>
            </a:r>
          </a:p>
          <a:p>
            <a:pPr indent="-91440" defTabSz="457200">
              <a:buFont typeface="Arial" pitchFamily="34" charset="0"/>
              <a:buChar char="•"/>
            </a:pPr>
            <a:r>
              <a:rPr lang="en-US" sz="1000" dirty="0">
                <a:solidFill>
                  <a:srgbClr val="E46C0A"/>
                </a:solidFill>
                <a:latin typeface="Helvetica Neue Light"/>
                <a:cs typeface="Helvetica Neue Light"/>
              </a:rPr>
              <a:t>Cirebon (KC)</a:t>
            </a:r>
          </a:p>
        </p:txBody>
      </p:sp>
      <p:cxnSp>
        <p:nvCxnSpPr>
          <p:cNvPr id="165" name="Straight Connector 164"/>
          <p:cNvCxnSpPr>
            <a:stCxn id="12" idx="16"/>
            <a:endCxn id="166" idx="0"/>
          </p:cNvCxnSpPr>
          <p:nvPr/>
        </p:nvCxnSpPr>
        <p:spPr>
          <a:xfrm flipH="1">
            <a:off x="3792447" y="4661154"/>
            <a:ext cx="753871" cy="747489"/>
          </a:xfrm>
          <a:prstGeom prst="line">
            <a:avLst/>
          </a:prstGeom>
          <a:ln>
            <a:solidFill>
              <a:srgbClr val="A6A6A6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TextBox 165"/>
          <p:cNvSpPr txBox="1"/>
          <p:nvPr/>
        </p:nvSpPr>
        <p:spPr>
          <a:xfrm>
            <a:off x="3140665" y="5408643"/>
            <a:ext cx="1303562" cy="12772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Semarang (KC)</a:t>
            </a:r>
          </a:p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Yogyakarta (KC)</a:t>
            </a:r>
          </a:p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Surakarta (KC)</a:t>
            </a:r>
          </a:p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Purwokerto</a:t>
            </a: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 (KC)</a:t>
            </a:r>
          </a:p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Magelang</a:t>
            </a: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 (KCP)</a:t>
            </a:r>
          </a:p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Sleman</a:t>
            </a: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 (KCP)</a:t>
            </a:r>
          </a:p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Klaten</a:t>
            </a: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 (KCP)</a:t>
            </a:r>
          </a:p>
        </p:txBody>
      </p:sp>
      <p:sp>
        <p:nvSpPr>
          <p:cNvPr id="167" name="Flowchart: Connector 166"/>
          <p:cNvSpPr/>
          <p:nvPr/>
        </p:nvSpPr>
        <p:spPr>
          <a:xfrm>
            <a:off x="4499692" y="4365104"/>
            <a:ext cx="67525" cy="73152"/>
          </a:xfrm>
          <a:prstGeom prst="flowChartConnector">
            <a:avLst/>
          </a:prstGeom>
          <a:solidFill>
            <a:srgbClr val="FF99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168" name="Straight Connector 167"/>
          <p:cNvCxnSpPr/>
          <p:nvPr/>
        </p:nvCxnSpPr>
        <p:spPr>
          <a:xfrm>
            <a:off x="4964972" y="4725144"/>
            <a:ext cx="0" cy="207306"/>
          </a:xfrm>
          <a:prstGeom prst="line">
            <a:avLst/>
          </a:prstGeom>
          <a:ln>
            <a:solidFill>
              <a:srgbClr val="A6A6A6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TextBox 168"/>
          <p:cNvSpPr txBox="1"/>
          <p:nvPr/>
        </p:nvSpPr>
        <p:spPr>
          <a:xfrm>
            <a:off x="4476295" y="4898246"/>
            <a:ext cx="1654620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91440" defTabSz="457200">
              <a:buFont typeface="Arial" pitchFamily="34" charset="0"/>
              <a:buChar char="•"/>
            </a:pP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Surabaya (KC)</a:t>
            </a:r>
          </a:p>
          <a:p>
            <a:pPr marL="171450" indent="-91440" defTabSz="457200">
              <a:buFont typeface="Arial" pitchFamily="34" charset="0"/>
              <a:buChar char="•"/>
            </a:pP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Malang (KC</a:t>
            </a:r>
            <a:r>
              <a:rPr lang="en-US" sz="1000" dirty="0" smtClean="0">
                <a:solidFill>
                  <a:prstClr val="black"/>
                </a:solidFill>
                <a:latin typeface="Helvetica Neue Light"/>
                <a:cs typeface="Helvetica Neue Light"/>
              </a:rPr>
              <a:t>)</a:t>
            </a:r>
          </a:p>
          <a:p>
            <a:pPr marL="171450" indent="-91440" defTabSz="457200">
              <a:buFont typeface="Arial" pitchFamily="34" charset="0"/>
              <a:buChar char="•"/>
            </a:pPr>
            <a:r>
              <a:rPr lang="en-US" sz="1000" dirty="0" err="1" smtClean="0">
                <a:solidFill>
                  <a:prstClr val="black"/>
                </a:solidFill>
                <a:latin typeface="Helvetica Neue Light"/>
                <a:cs typeface="Helvetica Neue Light"/>
              </a:rPr>
              <a:t>Kepanjen</a:t>
            </a:r>
            <a:r>
              <a:rPr lang="en-US" sz="1000" dirty="0" smtClean="0">
                <a:solidFill>
                  <a:prstClr val="black"/>
                </a:solidFill>
                <a:latin typeface="Helvetica Neue Light"/>
                <a:cs typeface="Helvetica Neue Light"/>
              </a:rPr>
              <a:t> (KK)</a:t>
            </a:r>
            <a:endParaRPr lang="en-US" sz="1000" dirty="0">
              <a:solidFill>
                <a:prstClr val="black"/>
              </a:solidFill>
              <a:latin typeface="Helvetica Neue Light"/>
              <a:cs typeface="Helvetica Neue Light"/>
            </a:endParaRPr>
          </a:p>
          <a:p>
            <a:pPr marL="171450" indent="-91440" defTabSz="457200">
              <a:buFont typeface="Arial" pitchFamily="34" charset="0"/>
              <a:buChar char="•"/>
            </a:pPr>
            <a:r>
              <a:rPr lang="en-US" sz="10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Madiun</a:t>
            </a: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 (KCP)</a:t>
            </a:r>
          </a:p>
          <a:p>
            <a:pPr marL="171450" indent="-91440" defTabSz="457200">
              <a:buFont typeface="Arial" pitchFamily="34" charset="0"/>
              <a:buChar char="•"/>
            </a:pPr>
            <a:r>
              <a:rPr lang="en-US" sz="10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Mojokerto</a:t>
            </a: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 (KCP)</a:t>
            </a:r>
          </a:p>
          <a:p>
            <a:pPr marL="171450" indent="-91440" defTabSz="457200">
              <a:buFont typeface="Arial" pitchFamily="34" charset="0"/>
              <a:buChar char="•"/>
            </a:pP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Kediri (KC)</a:t>
            </a:r>
          </a:p>
          <a:p>
            <a:pPr marL="171450" indent="-91440" defTabSz="457200">
              <a:buFont typeface="Arial" pitchFamily="34" charset="0"/>
              <a:buChar char="•"/>
            </a:pPr>
            <a:r>
              <a:rPr lang="en-US" sz="10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Jember</a:t>
            </a: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 (KC)</a:t>
            </a:r>
          </a:p>
          <a:p>
            <a:pPr marL="171450" indent="-91440" defTabSz="457200">
              <a:buFont typeface="Arial" pitchFamily="34" charset="0"/>
              <a:buChar char="•"/>
            </a:pPr>
            <a:r>
              <a:rPr lang="en-US" sz="10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Sidoarjo</a:t>
            </a: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 (KCP)</a:t>
            </a:r>
          </a:p>
          <a:p>
            <a:pPr marL="171450" indent="-91440" defTabSz="457200">
              <a:buFont typeface="Arial" pitchFamily="34" charset="0"/>
              <a:buChar char="•"/>
            </a:pPr>
            <a:r>
              <a:rPr lang="en-US" sz="10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Lamongan</a:t>
            </a: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 (KCP)</a:t>
            </a:r>
          </a:p>
          <a:p>
            <a:pPr marL="171450" indent="-91440" defTabSz="457200">
              <a:buFont typeface="Arial" pitchFamily="34" charset="0"/>
              <a:buChar char="•"/>
            </a:pPr>
            <a:r>
              <a:rPr lang="en-US" sz="10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Sumenep</a:t>
            </a: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 (KCP)</a:t>
            </a:r>
          </a:p>
          <a:p>
            <a:pPr marL="171450" indent="-91440" defTabSz="457200">
              <a:buFont typeface="Arial" pitchFamily="34" charset="0"/>
              <a:buChar char="•"/>
            </a:pP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Surabaya Barat (KK)</a:t>
            </a:r>
          </a:p>
          <a:p>
            <a:pPr marL="171450" indent="-91440" defTabSz="457200">
              <a:buFont typeface="Arial" pitchFamily="34" charset="0"/>
              <a:buChar char="•"/>
            </a:pP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Surabaya </a:t>
            </a:r>
            <a:r>
              <a:rPr lang="en-US" sz="10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Taspen</a:t>
            </a: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 (KK)</a:t>
            </a:r>
          </a:p>
        </p:txBody>
      </p:sp>
      <p:sp>
        <p:nvSpPr>
          <p:cNvPr id="170" name="Flowchart: Connector 169"/>
          <p:cNvSpPr/>
          <p:nvPr/>
        </p:nvSpPr>
        <p:spPr>
          <a:xfrm>
            <a:off x="4964973" y="4365104"/>
            <a:ext cx="67525" cy="73152"/>
          </a:xfrm>
          <a:prstGeom prst="flowChartConnector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1" name="Flowchart: Connector 170"/>
          <p:cNvSpPr/>
          <p:nvPr/>
        </p:nvSpPr>
        <p:spPr>
          <a:xfrm>
            <a:off x="5164381" y="4651992"/>
            <a:ext cx="67525" cy="73152"/>
          </a:xfrm>
          <a:prstGeom prst="flowChartConnector">
            <a:avLst/>
          </a:prstGeom>
          <a:solidFill>
            <a:srgbClr val="FF99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2" name="Flowchart: Connector 171"/>
          <p:cNvSpPr/>
          <p:nvPr/>
        </p:nvSpPr>
        <p:spPr>
          <a:xfrm>
            <a:off x="5165437" y="4363960"/>
            <a:ext cx="67525" cy="73152"/>
          </a:xfrm>
          <a:prstGeom prst="flowChartConnector">
            <a:avLst/>
          </a:prstGeom>
          <a:solidFill>
            <a:srgbClr val="FF99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3" name="Flowchart: Connector 172"/>
          <p:cNvSpPr/>
          <p:nvPr/>
        </p:nvSpPr>
        <p:spPr>
          <a:xfrm>
            <a:off x="4766623" y="4516360"/>
            <a:ext cx="67525" cy="73152"/>
          </a:xfrm>
          <a:prstGeom prst="flowChartConnector">
            <a:avLst/>
          </a:prstGeom>
          <a:solidFill>
            <a:srgbClr val="FF9900"/>
          </a:solidFill>
          <a:ln>
            <a:solidFill>
              <a:srgbClr val="FF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4" name="Flowchart: Connector 173"/>
          <p:cNvSpPr/>
          <p:nvPr/>
        </p:nvSpPr>
        <p:spPr>
          <a:xfrm>
            <a:off x="4700155" y="4293096"/>
            <a:ext cx="67525" cy="73152"/>
          </a:xfrm>
          <a:prstGeom prst="flowChartConnector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5" name="Flowchart: Connector 174"/>
          <p:cNvSpPr/>
          <p:nvPr/>
        </p:nvSpPr>
        <p:spPr>
          <a:xfrm>
            <a:off x="4699099" y="4400090"/>
            <a:ext cx="67525" cy="73152"/>
          </a:xfrm>
          <a:prstGeom prst="flowChartConnector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6" name="Flowchart: Connector 175"/>
          <p:cNvSpPr/>
          <p:nvPr/>
        </p:nvSpPr>
        <p:spPr>
          <a:xfrm>
            <a:off x="4699099" y="4517504"/>
            <a:ext cx="67525" cy="73152"/>
          </a:xfrm>
          <a:prstGeom prst="flowChartConnector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77" name="TextBox 176"/>
          <p:cNvSpPr txBox="1"/>
          <p:nvPr/>
        </p:nvSpPr>
        <p:spPr>
          <a:xfrm>
            <a:off x="1609062" y="4223706"/>
            <a:ext cx="1627369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Serang</a:t>
            </a: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 (KC)</a:t>
            </a:r>
          </a:p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Jakarta (KC)</a:t>
            </a:r>
          </a:p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Bogor (KCP)</a:t>
            </a:r>
          </a:p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Depok</a:t>
            </a: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 (KCP)</a:t>
            </a:r>
          </a:p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Tangerang</a:t>
            </a: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 (KCP)</a:t>
            </a:r>
          </a:p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Bekasi</a:t>
            </a: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 (KCP)</a:t>
            </a:r>
          </a:p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Bandung (KC)</a:t>
            </a:r>
          </a:p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Tasikmalaya</a:t>
            </a: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 (KC)</a:t>
            </a:r>
          </a:p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Jakarta Selatan (KCP)</a:t>
            </a:r>
          </a:p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Jakarta </a:t>
            </a:r>
            <a:r>
              <a:rPr lang="en-US" sz="10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Pusat</a:t>
            </a: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 (KK)</a:t>
            </a:r>
          </a:p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Jakarta </a:t>
            </a:r>
            <a:r>
              <a:rPr lang="en-US" sz="10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Timur</a:t>
            </a: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 (KCP)</a:t>
            </a:r>
          </a:p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Jakarta Barat (KCP)</a:t>
            </a:r>
          </a:p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 err="1">
                <a:solidFill>
                  <a:prstClr val="black"/>
                </a:solidFill>
                <a:latin typeface="Helvetica Neue Light"/>
                <a:cs typeface="Helvetica Neue Light"/>
              </a:rPr>
              <a:t>Cimahi</a:t>
            </a: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 (KCP)</a:t>
            </a:r>
          </a:p>
          <a:p>
            <a:pPr marL="171450" indent="-91440" defTabSz="4572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1000" dirty="0">
                <a:solidFill>
                  <a:prstClr val="black"/>
                </a:solidFill>
                <a:latin typeface="Helvetica Neue Light"/>
                <a:cs typeface="Helvetica Neue Light"/>
              </a:rPr>
              <a:t>Bandung Kota KCP</a:t>
            </a:r>
          </a:p>
        </p:txBody>
      </p:sp>
      <p:cxnSp>
        <p:nvCxnSpPr>
          <p:cNvPr id="178" name="Straight Connector 177"/>
          <p:cNvCxnSpPr/>
          <p:nvPr/>
        </p:nvCxnSpPr>
        <p:spPr>
          <a:xfrm flipH="1" flipV="1">
            <a:off x="2768601" y="4318000"/>
            <a:ext cx="1242352" cy="2254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Flowchart: Connector 178"/>
          <p:cNvSpPr/>
          <p:nvPr/>
        </p:nvSpPr>
        <p:spPr>
          <a:xfrm>
            <a:off x="5105650" y="4517504"/>
            <a:ext cx="67525" cy="73152"/>
          </a:xfrm>
          <a:prstGeom prst="flowChartConnector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0" name="Flowchart: Connector 179"/>
          <p:cNvSpPr/>
          <p:nvPr/>
        </p:nvSpPr>
        <p:spPr>
          <a:xfrm>
            <a:off x="4034408" y="4221088"/>
            <a:ext cx="67525" cy="73152"/>
          </a:xfrm>
          <a:prstGeom prst="flowChartConnector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1" name="Flowchart: Connector 180"/>
          <p:cNvSpPr/>
          <p:nvPr/>
        </p:nvSpPr>
        <p:spPr>
          <a:xfrm>
            <a:off x="4123051" y="4279365"/>
            <a:ext cx="67525" cy="73152"/>
          </a:xfrm>
          <a:prstGeom prst="flowChartConnector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2" name="Flowchart: Connector 181"/>
          <p:cNvSpPr/>
          <p:nvPr/>
        </p:nvSpPr>
        <p:spPr>
          <a:xfrm>
            <a:off x="4227238" y="4307940"/>
            <a:ext cx="67525" cy="73152"/>
          </a:xfrm>
          <a:prstGeom prst="flowChartConnector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3" name="TextBox 182"/>
          <p:cNvSpPr txBox="1"/>
          <p:nvPr/>
        </p:nvSpPr>
        <p:spPr>
          <a:xfrm>
            <a:off x="6301674" y="3241907"/>
            <a:ext cx="674861" cy="261610"/>
          </a:xfrm>
          <a:prstGeom prst="rect">
            <a:avLst/>
          </a:prstGeom>
          <a:solidFill>
            <a:schemeClr val="accent1"/>
          </a:solidFill>
          <a:ln>
            <a:solidFill>
              <a:srgbClr val="7F7F7F"/>
            </a:solidFill>
          </a:ln>
        </p:spPr>
        <p:txBody>
          <a:bodyPr wrap="square" lIns="0" rIns="0" rtlCol="0">
            <a:spAutoFit/>
          </a:bodyPr>
          <a:lstStyle/>
          <a:p>
            <a:pPr algn="ctr" defTabSz="457200"/>
            <a:r>
              <a:rPr lang="en-US" sz="1100" b="1" dirty="0">
                <a:solidFill>
                  <a:prstClr val="white"/>
                </a:solidFill>
                <a:latin typeface="Helvetica Neue Light"/>
                <a:cs typeface="Helvetica Neue Light"/>
              </a:rPr>
              <a:t>2 </a:t>
            </a:r>
            <a:r>
              <a:rPr lang="en-US" sz="1100" b="1" dirty="0" err="1">
                <a:solidFill>
                  <a:prstClr val="white"/>
                </a:solidFill>
                <a:latin typeface="Helvetica Neue Light"/>
                <a:cs typeface="Helvetica Neue Light"/>
              </a:rPr>
              <a:t>Cabang</a:t>
            </a:r>
            <a:endParaRPr lang="en-US" sz="1100" b="1" dirty="0">
              <a:solidFill>
                <a:prstClr val="white"/>
              </a:solidFill>
              <a:latin typeface="Helvetica Neue Light"/>
              <a:cs typeface="Helvetica Neue Light"/>
            </a:endParaRPr>
          </a:p>
        </p:txBody>
      </p:sp>
      <p:sp>
        <p:nvSpPr>
          <p:cNvPr id="184" name="TextBox 183"/>
          <p:cNvSpPr txBox="1"/>
          <p:nvPr/>
        </p:nvSpPr>
        <p:spPr>
          <a:xfrm>
            <a:off x="4876323" y="2780185"/>
            <a:ext cx="776591" cy="261610"/>
          </a:xfrm>
          <a:prstGeom prst="rect">
            <a:avLst/>
          </a:prstGeom>
          <a:solidFill>
            <a:schemeClr val="accent1"/>
          </a:solidFill>
          <a:ln>
            <a:solidFill>
              <a:srgbClr val="7F7F7F"/>
            </a:solidFill>
          </a:ln>
        </p:spPr>
        <p:txBody>
          <a:bodyPr wrap="square" lIns="36000" rIns="36000" rtlCol="0">
            <a:spAutoFit/>
          </a:bodyPr>
          <a:lstStyle/>
          <a:p>
            <a:pPr algn="ctr" defTabSz="457200"/>
            <a:r>
              <a:rPr lang="en-US" sz="1100" b="1" dirty="0">
                <a:solidFill>
                  <a:prstClr val="white"/>
                </a:solidFill>
                <a:latin typeface="Helvetica Neue Light"/>
                <a:cs typeface="Helvetica Neue Light"/>
              </a:rPr>
              <a:t>2 </a:t>
            </a:r>
            <a:r>
              <a:rPr lang="en-US" sz="1100" b="1" dirty="0" err="1">
                <a:solidFill>
                  <a:prstClr val="white"/>
                </a:solidFill>
                <a:latin typeface="Helvetica Neue Light"/>
                <a:cs typeface="Helvetica Neue Light"/>
              </a:rPr>
              <a:t>Cabang</a:t>
            </a:r>
            <a:r>
              <a:rPr lang="en-US" sz="1100" b="1" dirty="0">
                <a:solidFill>
                  <a:prstClr val="white"/>
                </a:solidFill>
                <a:latin typeface="Helvetica Neue Light"/>
                <a:cs typeface="Helvetica Neue Light"/>
              </a:rPr>
              <a:t> 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1727202" y="2091018"/>
            <a:ext cx="719667" cy="246221"/>
          </a:xfrm>
          <a:prstGeom prst="rect">
            <a:avLst/>
          </a:prstGeom>
          <a:solidFill>
            <a:schemeClr val="accent1"/>
          </a:solidFill>
          <a:ln>
            <a:solidFill>
              <a:srgbClr val="7F7F7F"/>
            </a:solidFill>
          </a:ln>
        </p:spPr>
        <p:txBody>
          <a:bodyPr wrap="square" lIns="36000" rIns="36000" rtlCol="0">
            <a:spAutoFit/>
          </a:bodyPr>
          <a:lstStyle/>
          <a:p>
            <a:pPr algn="ctr" defTabSz="457200"/>
            <a:r>
              <a:rPr lang="en-US" sz="1000" b="1" dirty="0">
                <a:solidFill>
                  <a:prstClr val="white"/>
                </a:solidFill>
                <a:latin typeface="Helvetica Neue Light"/>
                <a:cs typeface="Helvetica Neue Light"/>
              </a:rPr>
              <a:t>10 </a:t>
            </a:r>
            <a:r>
              <a:rPr lang="en-US" sz="1000" b="1" dirty="0" err="1">
                <a:solidFill>
                  <a:prstClr val="white"/>
                </a:solidFill>
                <a:latin typeface="Helvetica Neue Light"/>
                <a:cs typeface="Helvetica Neue Light"/>
              </a:rPr>
              <a:t>Cabang</a:t>
            </a:r>
            <a:endParaRPr lang="en-US" sz="1000" b="1" dirty="0">
              <a:solidFill>
                <a:prstClr val="white"/>
              </a:solidFill>
              <a:latin typeface="Helvetica Neue Light"/>
              <a:cs typeface="Helvetica Neue Light"/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5673151" y="4426103"/>
            <a:ext cx="719182" cy="261610"/>
          </a:xfrm>
          <a:prstGeom prst="rect">
            <a:avLst/>
          </a:prstGeom>
          <a:solidFill>
            <a:schemeClr val="accent1"/>
          </a:solidFill>
          <a:ln>
            <a:solidFill>
              <a:srgbClr val="7F7F7F"/>
            </a:solidFill>
          </a:ln>
        </p:spPr>
        <p:txBody>
          <a:bodyPr wrap="square" lIns="0" rIns="0" rtlCol="0">
            <a:spAutoFit/>
          </a:bodyPr>
          <a:lstStyle/>
          <a:p>
            <a:pPr algn="ctr" defTabSz="457200"/>
            <a:r>
              <a:rPr lang="en-US" sz="1100" b="1" dirty="0">
                <a:solidFill>
                  <a:prstClr val="white"/>
                </a:solidFill>
                <a:latin typeface="Helvetica Neue Light"/>
                <a:cs typeface="Helvetica Neue Light"/>
              </a:rPr>
              <a:t>78 </a:t>
            </a:r>
            <a:r>
              <a:rPr lang="en-US" sz="1100" b="1" dirty="0" err="1">
                <a:solidFill>
                  <a:prstClr val="white"/>
                </a:solidFill>
                <a:latin typeface="Helvetica Neue Light"/>
                <a:cs typeface="Helvetica Neue Light"/>
              </a:rPr>
              <a:t>Cabang</a:t>
            </a:r>
            <a:r>
              <a:rPr lang="en-US" sz="1100" b="1" dirty="0">
                <a:solidFill>
                  <a:prstClr val="white"/>
                </a:solidFill>
                <a:latin typeface="Helvetica Neue Light"/>
                <a:cs typeface="Helvetica Neue Light"/>
              </a:rPr>
              <a:t> 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3533307" y="4462453"/>
            <a:ext cx="784694" cy="261610"/>
          </a:xfrm>
          <a:prstGeom prst="rect">
            <a:avLst/>
          </a:prstGeom>
          <a:solidFill>
            <a:schemeClr val="accent1"/>
          </a:solidFill>
          <a:ln>
            <a:solidFill>
              <a:srgbClr val="7F7F7F"/>
            </a:solidFill>
          </a:ln>
        </p:spPr>
        <p:txBody>
          <a:bodyPr wrap="square" lIns="0" rIns="0" rtlCol="0">
            <a:spAutoFit/>
          </a:bodyPr>
          <a:lstStyle/>
          <a:p>
            <a:pPr algn="ctr" defTabSz="457200"/>
            <a:r>
              <a:rPr lang="en-US" sz="1100" b="1" dirty="0">
                <a:solidFill>
                  <a:prstClr val="white"/>
                </a:solidFill>
                <a:latin typeface="Helvetica Neue Light"/>
                <a:cs typeface="Helvetica Neue Light"/>
              </a:rPr>
              <a:t>34 </a:t>
            </a:r>
            <a:r>
              <a:rPr lang="en-US" sz="1100" b="1" dirty="0" err="1">
                <a:solidFill>
                  <a:prstClr val="white"/>
                </a:solidFill>
                <a:latin typeface="Helvetica Neue Light"/>
                <a:cs typeface="Helvetica Neue Light"/>
              </a:rPr>
              <a:t>Cabang</a:t>
            </a:r>
            <a:endParaRPr lang="en-US" sz="1100" b="1" dirty="0">
              <a:solidFill>
                <a:prstClr val="white"/>
              </a:solidFill>
              <a:latin typeface="Helvetica Neue Light"/>
              <a:cs typeface="Helvetica Neue Light"/>
            </a:endParaRPr>
          </a:p>
        </p:txBody>
      </p:sp>
      <p:cxnSp>
        <p:nvCxnSpPr>
          <p:cNvPr id="193" name="Straight Connector 192"/>
          <p:cNvCxnSpPr>
            <a:stCxn id="143" idx="1"/>
          </p:cNvCxnSpPr>
          <p:nvPr/>
        </p:nvCxnSpPr>
        <p:spPr>
          <a:xfrm flipH="1">
            <a:off x="3225802" y="2816034"/>
            <a:ext cx="236707" cy="282766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4" name="Straight Connector 193"/>
          <p:cNvCxnSpPr>
            <a:stCxn id="135" idx="1"/>
          </p:cNvCxnSpPr>
          <p:nvPr/>
        </p:nvCxnSpPr>
        <p:spPr>
          <a:xfrm flipH="1">
            <a:off x="2921001" y="2430432"/>
            <a:ext cx="184235" cy="797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5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077200" y="6356353"/>
            <a:ext cx="2133600" cy="365125"/>
          </a:xfrm>
        </p:spPr>
        <p:txBody>
          <a:bodyPr/>
          <a:lstStyle/>
          <a:p>
            <a:pPr defTabSz="457200"/>
            <a:fld id="{7CED1667-24B5-584E-A376-1F4C204A1173}" type="slidenum">
              <a:rPr lang="en-US">
                <a:solidFill>
                  <a:prstClr val="black">
                    <a:tint val="75000"/>
                  </a:prstClr>
                </a:solidFill>
                <a:latin typeface="Calibri"/>
              </a:rPr>
              <a:pPr defTabSz="457200"/>
              <a:t>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97" name="Rounded Rectangle 196"/>
          <p:cNvSpPr/>
          <p:nvPr/>
        </p:nvSpPr>
        <p:spPr>
          <a:xfrm>
            <a:off x="8069332" y="877870"/>
            <a:ext cx="1690511" cy="1074958"/>
          </a:xfrm>
          <a:prstGeom prst="roundRect">
            <a:avLst/>
          </a:prstGeom>
          <a:noFill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vetica Neue Thin"/>
                <a:cs typeface="Helvetica Neue Thin"/>
              </a:rPr>
              <a:t>126 </a:t>
            </a:r>
            <a:r>
              <a:rPr lang="en-US" b="1" dirty="0" err="1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vetica Neue Thin"/>
                <a:cs typeface="Helvetica Neue Thin"/>
              </a:rPr>
              <a:t>Cabang</a:t>
            </a:r>
            <a:endParaRPr lang="en-US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elvetica Neue Thin"/>
              <a:cs typeface="Helvetica Neue Thin"/>
            </a:endParaRPr>
          </a:p>
          <a:p>
            <a:pPr algn="ctr" defTabSz="457200"/>
            <a:r>
              <a:rPr lang="en-US" sz="16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vetica Neue Thin"/>
                <a:cs typeface="Helvetica Neue Thin"/>
              </a:rPr>
              <a:t>Di</a:t>
            </a:r>
          </a:p>
          <a:p>
            <a:pPr algn="ctr" defTabSz="457200"/>
            <a:r>
              <a:rPr lang="en-US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vetica Neue Thin"/>
                <a:cs typeface="Helvetica Neue Thin"/>
              </a:rPr>
              <a:t>21 </a:t>
            </a:r>
            <a:r>
              <a:rPr lang="en-US" b="1" dirty="0" err="1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vetica Neue Thin"/>
                <a:cs typeface="Helvetica Neue Thin"/>
              </a:rPr>
              <a:t>Provinsi</a:t>
            </a:r>
            <a:endParaRPr lang="en-US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elvetica Neue Thin"/>
              <a:cs typeface="Helvetica Neue Thin"/>
            </a:endParaRPr>
          </a:p>
        </p:txBody>
      </p:sp>
      <p:sp>
        <p:nvSpPr>
          <p:cNvPr id="198" name="Rectangle 197"/>
          <p:cNvSpPr>
            <a:spLocks noChangeArrowheads="1"/>
          </p:cNvSpPr>
          <p:nvPr/>
        </p:nvSpPr>
        <p:spPr bwMode="auto">
          <a:xfrm>
            <a:off x="1524000" y="58504"/>
            <a:ext cx="2044700" cy="649288"/>
          </a:xfrm>
          <a:prstGeom prst="rect">
            <a:avLst/>
          </a:prstGeom>
          <a:solidFill>
            <a:srgbClr val="C0C0C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defTabSz="457200"/>
            <a:endParaRPr lang="id-ID" altLang="id-ID" sz="1600">
              <a:solidFill>
                <a:srgbClr val="1F497D"/>
              </a:solidFill>
            </a:endParaRPr>
          </a:p>
        </p:txBody>
      </p:sp>
      <p:sp>
        <p:nvSpPr>
          <p:cNvPr id="199" name="Rectangle 198"/>
          <p:cNvSpPr>
            <a:spLocks noChangeArrowheads="1"/>
          </p:cNvSpPr>
          <p:nvPr/>
        </p:nvSpPr>
        <p:spPr bwMode="auto">
          <a:xfrm>
            <a:off x="1841500" y="128355"/>
            <a:ext cx="2752538" cy="474663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8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pPr defTabSz="457200">
              <a:defRPr/>
            </a:pPr>
            <a:endParaRPr lang="id-ID" sz="1600" dirty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96" name="Rectangle 9"/>
          <p:cNvSpPr txBox="1">
            <a:spLocks noChangeArrowheads="1"/>
          </p:cNvSpPr>
          <p:nvPr/>
        </p:nvSpPr>
        <p:spPr bwMode="auto">
          <a:xfrm>
            <a:off x="2041609" y="212569"/>
            <a:ext cx="2402619" cy="522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8205C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US" sz="2400" b="0" kern="0" dirty="0" err="1">
                <a:solidFill>
                  <a:prstClr val="black"/>
                </a:solidFill>
                <a:latin typeface="Arial"/>
                <a:ea typeface="ＭＳ Ｐゴシック"/>
                <a:cs typeface="ＭＳ Ｐゴシック"/>
              </a:rPr>
              <a:t>Jaringan</a:t>
            </a:r>
            <a:r>
              <a:rPr lang="en-US" sz="2400" b="0" kern="0" dirty="0">
                <a:solidFill>
                  <a:prstClr val="black"/>
                </a:solidFill>
                <a:latin typeface="Arial"/>
                <a:ea typeface="ＭＳ Ｐゴシック"/>
                <a:cs typeface="ＭＳ Ｐゴシック"/>
              </a:rPr>
              <a:t> Kantor</a:t>
            </a:r>
          </a:p>
        </p:txBody>
      </p:sp>
      <p:sp>
        <p:nvSpPr>
          <p:cNvPr id="192" name="Rounded Rectangle 191"/>
          <p:cNvSpPr/>
          <p:nvPr/>
        </p:nvSpPr>
        <p:spPr>
          <a:xfrm>
            <a:off x="6697733" y="5356620"/>
            <a:ext cx="5052989" cy="1074958"/>
          </a:xfrm>
          <a:prstGeom prst="roundRect">
            <a:avLst/>
          </a:prstGeom>
          <a:noFill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r>
              <a:rPr lang="en-US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vetica Neue Thin"/>
                <a:cs typeface="Helvetica Neue Thin"/>
              </a:rPr>
              <a:t>KANTOR</a:t>
            </a:r>
          </a:p>
          <a:p>
            <a:pPr algn="ctr" defTabSz="457200"/>
            <a:r>
              <a:rPr lang="en-US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vetica Neue Thin"/>
                <a:cs typeface="Helvetica Neue Thin"/>
              </a:rPr>
              <a:t>BANK MANTAP CABANG MALANG</a:t>
            </a:r>
          </a:p>
          <a:p>
            <a:pPr algn="ctr" defTabSz="457200"/>
            <a:r>
              <a:rPr lang="en-US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vetica Neue Thin"/>
                <a:cs typeface="Helvetica Neue Thin"/>
              </a:rPr>
              <a:t>Jl. </a:t>
            </a:r>
            <a:r>
              <a:rPr lang="en-US" b="1" dirty="0" err="1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vetica Neue Thin"/>
                <a:cs typeface="Helvetica Neue Thin"/>
              </a:rPr>
              <a:t>Kauman</a:t>
            </a:r>
            <a:r>
              <a:rPr lang="en-US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vetica Neue Thin"/>
                <a:cs typeface="Helvetica Neue Thin"/>
              </a:rPr>
              <a:t> no.22 MALANG</a:t>
            </a:r>
            <a:endParaRPr lang="en-US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elvetica Neue Thin"/>
              <a:cs typeface="Helvetica Neue Thin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20061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Slide Number Placeholder 5"/>
          <p:cNvSpPr>
            <a:spLocks noChangeArrowheads="1"/>
          </p:cNvSpPr>
          <p:nvPr/>
        </p:nvSpPr>
        <p:spPr bwMode="auto">
          <a:xfrm>
            <a:off x="9437688" y="6477000"/>
            <a:ext cx="4191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0" i="1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Corbel" pitchFamily="34" charset="0"/>
                <a:cs typeface="Arial" pitchFamily="34" charset="0"/>
              </a:rPr>
              <a:t>*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75" name="Rectangle 23"/>
          <p:cNvSpPr>
            <a:spLocks noChangeArrowheads="1"/>
          </p:cNvSpPr>
          <p:nvPr/>
        </p:nvSpPr>
        <p:spPr bwMode="auto">
          <a:xfrm>
            <a:off x="0" y="3686175"/>
            <a:ext cx="1419225" cy="414338"/>
          </a:xfrm>
          <a:prstGeom prst="rect">
            <a:avLst/>
          </a:prstGeom>
          <a:solidFill>
            <a:srgbClr val="F2F2F2"/>
          </a:solidFill>
          <a:ln w="25400">
            <a:noFill/>
            <a:bevel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76" name="Rectangle 22"/>
          <p:cNvSpPr>
            <a:spLocks noChangeArrowheads="1"/>
          </p:cNvSpPr>
          <p:nvPr/>
        </p:nvSpPr>
        <p:spPr bwMode="auto">
          <a:xfrm>
            <a:off x="0" y="1557338"/>
            <a:ext cx="1419225" cy="414337"/>
          </a:xfrm>
          <a:prstGeom prst="rect">
            <a:avLst/>
          </a:prstGeom>
          <a:solidFill>
            <a:srgbClr val="F2F2F2"/>
          </a:solidFill>
          <a:ln w="25400">
            <a:noFill/>
            <a:bevel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77" name="Rounded Rectangle 2"/>
          <p:cNvSpPr>
            <a:spLocks noChangeArrowheads="1"/>
          </p:cNvSpPr>
          <p:nvPr/>
        </p:nvSpPr>
        <p:spPr bwMode="auto">
          <a:xfrm>
            <a:off x="0" y="549275"/>
            <a:ext cx="7918450" cy="503238"/>
          </a:xfrm>
          <a:prstGeom prst="roundRect">
            <a:avLst>
              <a:gd name="adj" fmla="val 50000"/>
            </a:avLst>
          </a:prstGeom>
          <a:solidFill>
            <a:srgbClr val="FF9900"/>
          </a:solidFill>
          <a:ln w="25400">
            <a:noFill/>
            <a:bevel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78" name="TextBox 6"/>
          <p:cNvSpPr>
            <a:spLocks noChangeArrowheads="1"/>
          </p:cNvSpPr>
          <p:nvPr/>
        </p:nvSpPr>
        <p:spPr bwMode="auto">
          <a:xfrm>
            <a:off x="371475" y="530225"/>
            <a:ext cx="2105025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8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Corbel" pitchFamily="34" charset="0"/>
                <a:cs typeface="Arial" pitchFamily="34" charset="0"/>
              </a:rPr>
              <a:t>Visi dan Misi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79" name="TextBox 7"/>
          <p:cNvSpPr>
            <a:spLocks noChangeArrowheads="1"/>
          </p:cNvSpPr>
          <p:nvPr/>
        </p:nvSpPr>
        <p:spPr bwMode="auto">
          <a:xfrm>
            <a:off x="371475" y="1557338"/>
            <a:ext cx="714375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orbel" pitchFamily="34" charset="0"/>
                <a:cs typeface="Arial" pitchFamily="34" charset="0"/>
              </a:rPr>
              <a:t>Visi 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80" name="TextBox 8"/>
          <p:cNvSpPr>
            <a:spLocks noChangeArrowheads="1"/>
          </p:cNvSpPr>
          <p:nvPr/>
        </p:nvSpPr>
        <p:spPr bwMode="auto">
          <a:xfrm>
            <a:off x="344488" y="3717925"/>
            <a:ext cx="7620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orbel" pitchFamily="34" charset="0"/>
                <a:cs typeface="Arial" pitchFamily="34" charset="0"/>
              </a:rPr>
              <a:t>Misi :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3081" name="Picture 9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45375" y="4875213"/>
            <a:ext cx="2105025" cy="1447800"/>
          </a:xfrm>
          <a:prstGeom prst="rect">
            <a:avLst/>
          </a:prstGeom>
          <a:solidFill>
            <a:srgbClr val="EDEDED"/>
          </a:solidFill>
          <a:ln w="9525">
            <a:noFill/>
            <a:bevel/>
            <a:headEnd/>
            <a:tailEnd/>
          </a:ln>
        </p:spPr>
      </p:pic>
      <p:pic>
        <p:nvPicPr>
          <p:cNvPr id="3082" name="Picture 1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424738" y="3333750"/>
            <a:ext cx="2125662" cy="1416050"/>
          </a:xfrm>
          <a:prstGeom prst="rect">
            <a:avLst/>
          </a:prstGeom>
          <a:solidFill>
            <a:srgbClr val="EDEDED"/>
          </a:solidFill>
          <a:ln w="9525">
            <a:noFill/>
            <a:bevel/>
            <a:headEnd/>
            <a:tailEnd/>
          </a:ln>
        </p:spPr>
      </p:pic>
      <p:pic>
        <p:nvPicPr>
          <p:cNvPr id="3083" name="Picture 1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024438" y="3302000"/>
            <a:ext cx="2322512" cy="1477963"/>
          </a:xfrm>
          <a:prstGeom prst="rect">
            <a:avLst/>
          </a:prstGeom>
          <a:solidFill>
            <a:srgbClr val="EDEDED"/>
          </a:solidFill>
          <a:ln w="9525">
            <a:noFill/>
            <a:bevel/>
            <a:headEnd/>
            <a:tailEnd/>
          </a:ln>
        </p:spPr>
      </p:pic>
      <p:pic>
        <p:nvPicPr>
          <p:cNvPr id="3084" name="Picture 1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435850" y="1773238"/>
            <a:ext cx="2125663" cy="1398587"/>
          </a:xfrm>
          <a:prstGeom prst="rect">
            <a:avLst/>
          </a:prstGeom>
          <a:solidFill>
            <a:srgbClr val="EDEDED"/>
          </a:solidFill>
          <a:ln w="9525">
            <a:noFill/>
            <a:bevel/>
            <a:headEnd/>
            <a:tailEnd/>
          </a:ln>
        </p:spPr>
      </p:pic>
      <p:pic>
        <p:nvPicPr>
          <p:cNvPr id="3085" name="Picture 1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127625" y="4875213"/>
            <a:ext cx="2163763" cy="1447800"/>
          </a:xfrm>
          <a:prstGeom prst="rect">
            <a:avLst/>
          </a:prstGeom>
          <a:solidFill>
            <a:srgbClr val="EDEDED"/>
          </a:solidFill>
          <a:ln w="9525">
            <a:noFill/>
            <a:bevel/>
            <a:headEnd/>
            <a:tailEnd/>
          </a:ln>
        </p:spPr>
      </p:pic>
      <p:pic>
        <p:nvPicPr>
          <p:cNvPr id="3086" name="Picture 1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127625" y="1773238"/>
            <a:ext cx="2130425" cy="1398587"/>
          </a:xfrm>
          <a:prstGeom prst="rect">
            <a:avLst/>
          </a:prstGeom>
          <a:solidFill>
            <a:srgbClr val="EDEDED"/>
          </a:solidFill>
          <a:ln w="9525">
            <a:noFill/>
            <a:bevel/>
            <a:headEnd/>
            <a:tailEnd/>
          </a:ln>
        </p:spPr>
      </p:pic>
      <p:sp>
        <p:nvSpPr>
          <p:cNvPr id="3087" name="Straight Connector 16"/>
          <p:cNvSpPr>
            <a:spLocks noChangeShapeType="1"/>
          </p:cNvSpPr>
          <p:nvPr/>
        </p:nvSpPr>
        <p:spPr bwMode="auto">
          <a:xfrm>
            <a:off x="7346950" y="1773238"/>
            <a:ext cx="0" cy="4433887"/>
          </a:xfrm>
          <a:prstGeom prst="line">
            <a:avLst/>
          </a:prstGeom>
          <a:noFill/>
          <a:ln w="28575">
            <a:solidFill>
              <a:srgbClr val="A5A5A5"/>
            </a:solidFill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8" name="Straight Connector 18"/>
          <p:cNvSpPr>
            <a:spLocks noChangeShapeType="1"/>
          </p:cNvSpPr>
          <p:nvPr/>
        </p:nvSpPr>
        <p:spPr bwMode="auto">
          <a:xfrm>
            <a:off x="5164138" y="3225800"/>
            <a:ext cx="4386262" cy="1588"/>
          </a:xfrm>
          <a:prstGeom prst="line">
            <a:avLst/>
          </a:prstGeom>
          <a:noFill/>
          <a:ln w="28575">
            <a:solidFill>
              <a:srgbClr val="A5A5A5"/>
            </a:solidFill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89" name="Straight Connector 19"/>
          <p:cNvSpPr>
            <a:spLocks noChangeShapeType="1"/>
          </p:cNvSpPr>
          <p:nvPr/>
        </p:nvSpPr>
        <p:spPr bwMode="auto">
          <a:xfrm>
            <a:off x="5175250" y="4802188"/>
            <a:ext cx="4386263" cy="0"/>
          </a:xfrm>
          <a:prstGeom prst="line">
            <a:avLst/>
          </a:prstGeom>
          <a:noFill/>
          <a:ln w="28575">
            <a:solidFill>
              <a:srgbClr val="A5A5A5"/>
            </a:solidFill>
            <a:bevel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090" name="TextBox 20"/>
          <p:cNvSpPr>
            <a:spLocks noChangeArrowheads="1"/>
          </p:cNvSpPr>
          <p:nvPr/>
        </p:nvSpPr>
        <p:spPr bwMode="auto">
          <a:xfrm>
            <a:off x="796925" y="2178050"/>
            <a:ext cx="4084638" cy="132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0" i="1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orbel" pitchFamily="34" charset="0"/>
                <a:cs typeface="Arial" pitchFamily="34" charset="0"/>
              </a:rPr>
              <a:t>“Menjadi Mitra Terbaik dan Terpercaya Dalam Memberdayakan dan Mensejahterakan”. </a:t>
            </a:r>
            <a:endParaRPr kumimoji="0" lang="en-US" sz="2000" b="1" i="1" u="sng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Corbel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91" name="TextBox 21"/>
          <p:cNvSpPr>
            <a:spLocks noChangeArrowheads="1"/>
          </p:cNvSpPr>
          <p:nvPr/>
        </p:nvSpPr>
        <p:spPr bwMode="auto">
          <a:xfrm>
            <a:off x="631825" y="4292600"/>
            <a:ext cx="4321175" cy="193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buFont typeface="Corbel" pitchFamily="34" charset="0"/>
              <a:buChar char="•"/>
              <a:tabLst/>
            </a:pPr>
            <a:r>
              <a:rPr kumimoji="0" lang="en-US" sz="2000" b="0" i="1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orbel" pitchFamily="34" charset="0"/>
                <a:cs typeface="Arial" pitchFamily="34" charset="0"/>
              </a:rPr>
              <a:t>Menciptakan Pertumbuhan Bisnis dan Kesejahteraan Melalui Produk dan Layanan Keuangan Terbaik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1" i="1" u="sng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Corbel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ts val="2000"/>
              <a:buFont typeface="Corbel" pitchFamily="34" charset="0"/>
              <a:buChar char="•"/>
              <a:tabLst/>
            </a:pPr>
            <a:r>
              <a:rPr kumimoji="0" lang="en-US" sz="2000" b="0" i="1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orbel" pitchFamily="34" charset="0"/>
                <a:cs typeface="Arial" pitchFamily="34" charset="0"/>
              </a:rPr>
              <a:t>Fokus Pada Kebutuhan UMKM dan Pensiunan.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652978" y="5767915"/>
            <a:ext cx="1532743" cy="1083736"/>
          </a:xfrm>
          <a:prstGeom prst="rect">
            <a:avLst/>
          </a:prstGeom>
        </p:spPr>
      </p:pic>
      <p:sp>
        <p:nvSpPr>
          <p:cNvPr id="18" name="Oval 17"/>
          <p:cNvSpPr/>
          <p:nvPr/>
        </p:nvSpPr>
        <p:spPr>
          <a:xfrm>
            <a:off x="4010911" y="3143962"/>
            <a:ext cx="4421889" cy="3714038"/>
          </a:xfrm>
          <a:prstGeom prst="ellipse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 l="-30000" r="-30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8" name="Group 7"/>
          <p:cNvGrpSpPr/>
          <p:nvPr/>
        </p:nvGrpSpPr>
        <p:grpSpPr>
          <a:xfrm>
            <a:off x="1851902" y="1333500"/>
            <a:ext cx="9882898" cy="1810461"/>
            <a:chOff x="1282775" y="2966311"/>
            <a:chExt cx="8488196" cy="1106321"/>
          </a:xfrm>
          <a:solidFill>
            <a:srgbClr val="002060"/>
          </a:solidFill>
        </p:grpSpPr>
        <p:sp>
          <p:nvSpPr>
            <p:cNvPr id="10" name="Pentagon 9"/>
            <p:cNvSpPr/>
            <p:nvPr/>
          </p:nvSpPr>
          <p:spPr>
            <a:xfrm rot="10800000">
              <a:off x="1282775" y="2966311"/>
              <a:ext cx="8488196" cy="1106321"/>
            </a:xfrm>
            <a:prstGeom prst="homePlate">
              <a:avLst/>
            </a:pr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-7353344"/>
                <a:satOff val="-10228"/>
                <a:lumOff val="-3922"/>
                <a:alphaOff val="0"/>
              </a:schemeClr>
            </a:fillRef>
            <a:effectRef idx="0">
              <a:schemeClr val="accent5">
                <a:hueOff val="-7353344"/>
                <a:satOff val="-10228"/>
                <a:lumOff val="-392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Pentagon 4"/>
            <p:cNvSpPr txBox="1"/>
            <p:nvPr/>
          </p:nvSpPr>
          <p:spPr>
            <a:xfrm rot="21600000">
              <a:off x="1559355" y="2966311"/>
              <a:ext cx="8211616" cy="1106321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7857" tIns="152400" rIns="284480" bIns="152400" numCol="1" spcCol="1270" anchor="ctr" anchorCtr="0">
              <a:noAutofit/>
            </a:bodyPr>
            <a:lstStyle/>
            <a:p>
              <a:pPr lvl="0" algn="ctr" defTabSz="1778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4800" kern="1200" dirty="0" smtClean="0"/>
                <a:t>           </a:t>
              </a:r>
              <a:r>
                <a:rPr lang="id-ID" sz="4800" kern="1200" dirty="0" smtClean="0"/>
                <a:t>Mengapa ke Bank Mantap ?</a:t>
              </a:r>
              <a:endParaRPr lang="en-US" sz="4800" kern="1200" dirty="0"/>
            </a:p>
          </p:txBody>
        </p:sp>
      </p:grpSp>
      <p:sp>
        <p:nvSpPr>
          <p:cNvPr id="15" name="Oval 14"/>
          <p:cNvSpPr/>
          <p:nvPr/>
        </p:nvSpPr>
        <p:spPr>
          <a:xfrm>
            <a:off x="1676400" y="1333498"/>
            <a:ext cx="1778000" cy="1810463"/>
          </a:xfrm>
          <a:prstGeom prst="ellipse">
            <a:avLst/>
          </a:prstGeom>
          <a:blipFill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 l="-2000" r="-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tint val="50000"/>
              <a:hueOff val="-7388970"/>
              <a:satOff val="-12997"/>
              <a:lumOff val="-1672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xmlns="" val="23790576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14:ripple dir="ru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/>
          </p:cNvSpPr>
          <p:nvPr/>
        </p:nvSpPr>
        <p:spPr bwMode="auto">
          <a:xfrm>
            <a:off x="476250" y="604838"/>
            <a:ext cx="8915400" cy="6072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AU" sz="4000" b="0" i="1" u="sng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5</a:t>
            </a:r>
            <a:r>
              <a:rPr kumimoji="0" lang="id-ID" sz="4000" b="1" i="1" u="sng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 </a:t>
            </a:r>
            <a:r>
              <a:rPr kumimoji="0" lang="id-ID" sz="2000" b="1" i="1" u="sng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Program Unggulan Mantap</a:t>
            </a:r>
            <a:r>
              <a:rPr kumimoji="0" lang="en-AU" sz="2000" b="1" i="1" u="sng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/>
            </a:r>
            <a:br>
              <a:rPr kumimoji="0" lang="en-AU" sz="2000" b="1" i="1" u="sng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</a:br>
            <a:r>
              <a:rPr kumimoji="0" lang="id-ID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1. Program LKO Taspen &amp; ASABRI</a:t>
            </a:r>
            <a:br>
              <a:rPr kumimoji="0" lang="id-ID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</a:br>
            <a:r>
              <a:rPr kumimoji="0" lang="id-ID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2. Program CGC (Customer get Customer)</a:t>
            </a:r>
            <a:br>
              <a:rPr kumimoji="0" lang="id-ID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</a:br>
            <a:r>
              <a:rPr kumimoji="0" lang="id-ID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3. Program WIC (Walk in Customer)</a:t>
            </a:r>
            <a:br>
              <a:rPr kumimoji="0" lang="id-ID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</a:br>
            <a:r>
              <a:rPr kumimoji="0" lang="id-ID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4. </a:t>
            </a: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Program </a:t>
            </a:r>
            <a:r>
              <a:rPr kumimoji="0" lang="en-AU" sz="2000" b="1" i="1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Hadiah</a:t>
            </a: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 </a:t>
            </a:r>
            <a:r>
              <a:rPr kumimoji="0" lang="en-AU" sz="2000" b="1" i="1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Mantap</a:t>
            </a: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/>
            </a:r>
            <a:b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</a:b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5. </a:t>
            </a:r>
            <a:r>
              <a:rPr kumimoji="0" lang="id-ID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Program </a:t>
            </a:r>
            <a:r>
              <a:rPr kumimoji="0" lang="en-AU" sz="2000" b="1" i="1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Pemberdayaan</a:t>
            </a: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/>
            </a:r>
            <a:b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</a:br>
            <a:r>
              <a:rPr kumimoji="0" lang="en-AU" sz="4000" b="0" i="1" u="sng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7</a:t>
            </a:r>
            <a:r>
              <a:rPr kumimoji="0" lang="id-ID" sz="2000" b="0" i="1" u="sng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 </a:t>
            </a:r>
            <a:r>
              <a:rPr kumimoji="0" lang="en-AU" sz="2000" b="0" i="1" u="sng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P</a:t>
            </a:r>
            <a:r>
              <a:rPr kumimoji="0" lang="id-ID" sz="2000" b="0" i="1" u="sng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roduk Unggulan Mantap</a:t>
            </a: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/>
            </a:r>
            <a:b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</a:b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1. </a:t>
            </a:r>
            <a:r>
              <a:rPr kumimoji="0" lang="id-ID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Kredit  Pegawai Aktif</a:t>
            </a: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/>
            </a:r>
            <a:b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</a:b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2. </a:t>
            </a:r>
            <a:r>
              <a:rPr kumimoji="0" lang="en-AU" sz="2000" b="1" i="1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ksm</a:t>
            </a: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 </a:t>
            </a:r>
            <a:r>
              <a:rPr kumimoji="0" lang="en-AU" sz="2000" b="1" i="1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Umroh</a:t>
            </a: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/>
            </a:r>
            <a:b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</a:b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3. K</a:t>
            </a:r>
            <a:r>
              <a:rPr kumimoji="0" lang="id-ID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redit BUP (2 th menjelang Pensiun)</a:t>
            </a:r>
            <a:br>
              <a:rPr kumimoji="0" lang="id-ID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</a:b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4</a:t>
            </a:r>
            <a:r>
              <a:rPr kumimoji="0" lang="id-ID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. Kredit Pensiunan</a:t>
            </a: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/>
            </a:r>
            <a:b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</a:b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5. T</a:t>
            </a:r>
            <a:r>
              <a:rPr kumimoji="0" lang="id-ID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abungan Prima Rate s.d. 6 %</a:t>
            </a: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/>
            </a:r>
            <a:b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</a:b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6</a:t>
            </a:r>
            <a:r>
              <a:rPr kumimoji="0" lang="id-ID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. Tabungan berhadiah langsung tanpa diundi</a:t>
            </a: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/>
            </a:r>
            <a:b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</a:b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7. D</a:t>
            </a:r>
            <a:r>
              <a:rPr kumimoji="0" lang="id-ID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eposito Mantap </a:t>
            </a: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/>
            </a:r>
            <a:b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</a:b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/>
            </a:r>
            <a:b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</a:b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.....&amp; </a:t>
            </a:r>
            <a:r>
              <a:rPr kumimoji="0" lang="en-AU" sz="2000" b="1" i="1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Layanan</a:t>
            </a: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 Bank </a:t>
            </a:r>
            <a:r>
              <a:rPr kumimoji="0" lang="en-AU" sz="2000" b="1" i="1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Mantap</a:t>
            </a:r>
            <a:r>
              <a:rPr kumimoji="0" lang="id-ID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/>
            </a:r>
            <a:br>
              <a:rPr kumimoji="0" lang="id-ID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</a:br>
            <a:r>
              <a:rPr kumimoji="0" lang="id-ID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/>
            </a:r>
            <a:br>
              <a:rPr kumimoji="0" lang="id-ID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</a:br>
            <a:r>
              <a:rPr kumimoji="0" lang="en-AU" sz="2000" b="1" i="1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Corbel" pitchFamily="34" charset="0"/>
              </a:rPr>
              <a:t> </a:t>
            </a:r>
            <a:endParaRPr kumimoji="0" lang="en-US" sz="44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triped Right Arrow 36"/>
          <p:cNvSpPr/>
          <p:nvPr/>
        </p:nvSpPr>
        <p:spPr>
          <a:xfrm>
            <a:off x="8351619" y="1899360"/>
            <a:ext cx="1065845" cy="628688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triped Right Arrow 6"/>
          <p:cNvSpPr/>
          <p:nvPr/>
        </p:nvSpPr>
        <p:spPr>
          <a:xfrm rot="8577804">
            <a:off x="5939521" y="4359789"/>
            <a:ext cx="1306000" cy="1163132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triped Right Arrow 7"/>
          <p:cNvSpPr/>
          <p:nvPr/>
        </p:nvSpPr>
        <p:spPr>
          <a:xfrm>
            <a:off x="3246156" y="1754793"/>
            <a:ext cx="2366682" cy="652232"/>
          </a:xfrm>
          <a:prstGeom prst="strip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652978" y="5767915"/>
            <a:ext cx="1532743" cy="1083736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123038" y="108273"/>
            <a:ext cx="8488196" cy="1106321"/>
            <a:chOff x="1309658" y="4311022"/>
            <a:chExt cx="8488196" cy="1106321"/>
          </a:xfrm>
        </p:grpSpPr>
        <p:sp>
          <p:nvSpPr>
            <p:cNvPr id="18" name="Pentagon 17"/>
            <p:cNvSpPr/>
            <p:nvPr/>
          </p:nvSpPr>
          <p:spPr>
            <a:xfrm rot="10800000">
              <a:off x="1309658" y="4311022"/>
              <a:ext cx="8488196" cy="1106321"/>
            </a:xfrm>
            <a:prstGeom prst="homePlat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-7353344"/>
                <a:satOff val="-10228"/>
                <a:lumOff val="-3922"/>
                <a:alphaOff val="0"/>
              </a:schemeClr>
            </a:fillRef>
            <a:effectRef idx="0">
              <a:schemeClr val="accent5">
                <a:hueOff val="-7353344"/>
                <a:satOff val="-10228"/>
                <a:lumOff val="-3922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Pentagon 4"/>
            <p:cNvSpPr/>
            <p:nvPr/>
          </p:nvSpPr>
          <p:spPr>
            <a:xfrm rot="21600000">
              <a:off x="1586238" y="4311022"/>
              <a:ext cx="8211616" cy="1106321"/>
            </a:xfrm>
            <a:prstGeom prst="rect">
              <a:avLst/>
            </a:prstGeom>
            <a:solidFill>
              <a:srgbClr val="002060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87857" tIns="152400" rIns="284480" bIns="152400" numCol="1" spcCol="1270" anchor="ctr" anchorCtr="0">
              <a:noAutofit/>
            </a:bodyPr>
            <a:lstStyle/>
            <a:p>
              <a:pPr lvl="0" algn="ctr" defTabSz="1778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d-ID" sz="4000" kern="1200" dirty="0" smtClean="0"/>
                <a:t>Mengapa ke Bank Mantap ?</a:t>
              </a:r>
              <a:endParaRPr lang="en-US" sz="4000" kern="1200" dirty="0"/>
            </a:p>
          </p:txBody>
        </p:sp>
      </p:grpSp>
      <p:sp>
        <p:nvSpPr>
          <p:cNvPr id="17" name="Oval 16"/>
          <p:cNvSpPr/>
          <p:nvPr/>
        </p:nvSpPr>
        <p:spPr>
          <a:xfrm>
            <a:off x="111424" y="109596"/>
            <a:ext cx="1106321" cy="1106321"/>
          </a:xfrm>
          <a:prstGeom prst="ellipse">
            <a:avLst/>
          </a:prstGeom>
          <a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 l="-2000" r="-2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tint val="50000"/>
              <a:hueOff val="-7388970"/>
              <a:satOff val="-12997"/>
              <a:lumOff val="-1672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4584" y="1241853"/>
            <a:ext cx="2411829" cy="2065328"/>
          </a:xfrm>
          <a:prstGeom prst="rect">
            <a:avLst/>
          </a:prstGeom>
        </p:spPr>
      </p:pic>
      <p:sp>
        <p:nvSpPr>
          <p:cNvPr id="15" name="Text Box 6"/>
          <p:cNvSpPr txBox="1">
            <a:spLocks noChangeArrowheads="1"/>
          </p:cNvSpPr>
          <p:nvPr/>
        </p:nvSpPr>
        <p:spPr bwMode="auto">
          <a:xfrm>
            <a:off x="2955148" y="2355195"/>
            <a:ext cx="3000324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id-ID" altLang="en-US" b="1" dirty="0" smtClean="0">
                <a:solidFill>
                  <a:schemeClr val="accent1">
                    <a:lumMod val="50000"/>
                  </a:schemeClr>
                </a:solidFill>
                <a:latin typeface="Agency FB" panose="020B0503020202020204" pitchFamily="34" charset="0"/>
              </a:rPr>
              <a:t>Laba/ Keuntungan akan dibagikan kepada Pemegang saham BANK MANTAP = MANDIRI, PT. TASPEN &amp; PT. POS</a:t>
            </a:r>
            <a:endParaRPr lang="en-AU" altLang="en-US" b="1" dirty="0">
              <a:solidFill>
                <a:schemeClr val="accent1">
                  <a:lumMod val="50000"/>
                </a:schemeClr>
              </a:solidFill>
              <a:latin typeface="Agency FB" panose="020B0503020202020204" pitchFamily="34" charset="0"/>
            </a:endParaRPr>
          </a:p>
        </p:txBody>
      </p:sp>
      <p:grpSp>
        <p:nvGrpSpPr>
          <p:cNvPr id="19" name="Group 85"/>
          <p:cNvGrpSpPr>
            <a:grpSpLocks/>
          </p:cNvGrpSpPr>
          <p:nvPr/>
        </p:nvGrpSpPr>
        <p:grpSpPr bwMode="auto">
          <a:xfrm>
            <a:off x="5912406" y="1487162"/>
            <a:ext cx="2298513" cy="2138683"/>
            <a:chOff x="7429520" y="2786058"/>
            <a:chExt cx="1571636" cy="1714512"/>
          </a:xfrm>
        </p:grpSpPr>
        <p:grpSp>
          <p:nvGrpSpPr>
            <p:cNvPr id="20" name="Group 82"/>
            <p:cNvGrpSpPr>
              <a:grpSpLocks/>
            </p:cNvGrpSpPr>
            <p:nvPr/>
          </p:nvGrpSpPr>
          <p:grpSpPr bwMode="auto">
            <a:xfrm>
              <a:off x="7429520" y="2786058"/>
              <a:ext cx="1571636" cy="1466674"/>
              <a:chOff x="5143504" y="1000108"/>
              <a:chExt cx="2219228" cy="2000264"/>
            </a:xfrm>
          </p:grpSpPr>
          <p:pic>
            <p:nvPicPr>
              <p:cNvPr id="28" name="Picture 2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43504" y="1000108"/>
                <a:ext cx="2219228" cy="20002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9" name="Picture 4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72199" y="1000108"/>
                <a:ext cx="357190" cy="4219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6" name="WordArt 18"/>
            <p:cNvSpPr>
              <a:spLocks noChangeArrowheads="1" noChangeShapeType="1" noTextEdit="1"/>
            </p:cNvSpPr>
            <p:nvPr/>
          </p:nvSpPr>
          <p:spPr bwMode="auto">
            <a:xfrm>
              <a:off x="7500958" y="4291045"/>
              <a:ext cx="1428759" cy="209525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0"/>
                </a:avLst>
              </a:prstTxWarp>
            </a:bodyPr>
            <a:lstStyle/>
            <a:p>
              <a:pPr algn="ctr"/>
              <a:r>
                <a:rPr lang="id-ID" sz="3600" b="1" kern="10" dirty="0" smtClean="0">
                  <a:ln w="12700">
                    <a:solidFill>
                      <a:srgbClr val="054697"/>
                    </a:solidFill>
                    <a:round/>
                    <a:headEnd/>
                    <a:tailEnd/>
                  </a:ln>
                  <a:solidFill>
                    <a:srgbClr val="002060"/>
                  </a:solidFill>
                  <a:effectLst>
                    <a:outerShdw dist="20320" dir="1799969" algn="tl" rotWithShape="0">
                      <a:srgbClr val="000000">
                        <a:alpha val="39998"/>
                      </a:srgbClr>
                    </a:outerShdw>
                  </a:effectLst>
                  <a:latin typeface="Impact" panose="020B0806030902050204" pitchFamily="34" charset="0"/>
                </a:rPr>
                <a:t>PT. </a:t>
              </a:r>
              <a:r>
                <a:rPr lang="en-US" sz="3600" b="1" kern="10" dirty="0" smtClean="0">
                  <a:ln w="12700">
                    <a:solidFill>
                      <a:srgbClr val="054697"/>
                    </a:solidFill>
                    <a:round/>
                    <a:headEnd/>
                    <a:tailEnd/>
                  </a:ln>
                  <a:solidFill>
                    <a:srgbClr val="002060"/>
                  </a:solidFill>
                  <a:effectLst>
                    <a:outerShdw dist="20320" dir="1799969" algn="tl" rotWithShape="0">
                      <a:srgbClr val="000000">
                        <a:alpha val="39998"/>
                      </a:srgbClr>
                    </a:outerShdw>
                  </a:effectLst>
                  <a:latin typeface="Impact" panose="020B0806030902050204" pitchFamily="34" charset="0"/>
                </a:rPr>
                <a:t>TASPEN </a:t>
              </a:r>
              <a:endParaRPr lang="en-US" sz="3600" b="1" kern="10" dirty="0">
                <a:ln w="12700">
                  <a:solidFill>
                    <a:srgbClr val="054697"/>
                  </a:solidFill>
                  <a:round/>
                  <a:headEnd/>
                  <a:tailEnd/>
                </a:ln>
                <a:solidFill>
                  <a:srgbClr val="002060"/>
                </a:solidFill>
                <a:effectLst>
                  <a:outerShdw dist="20320" dir="1799969" algn="tl" rotWithShape="0">
                    <a:srgbClr val="000000">
                      <a:alpha val="39998"/>
                    </a:srgbClr>
                  </a:outerShdw>
                </a:effectLst>
                <a:latin typeface="Impact" panose="020B0806030902050204" pitchFamily="34" charset="0"/>
              </a:endParaRPr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165892" y="3776257"/>
            <a:ext cx="2380363" cy="2326264"/>
          </a:xfrm>
          <a:prstGeom prst="rect">
            <a:avLst/>
          </a:prstGeom>
        </p:spPr>
      </p:pic>
      <p:sp>
        <p:nvSpPr>
          <p:cNvPr id="30" name="Text Box 6"/>
          <p:cNvSpPr txBox="1">
            <a:spLocks noChangeArrowheads="1"/>
          </p:cNvSpPr>
          <p:nvPr/>
        </p:nvSpPr>
        <p:spPr bwMode="auto">
          <a:xfrm>
            <a:off x="5720971" y="3633799"/>
            <a:ext cx="5960257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/>
            <a:r>
              <a:rPr lang="id-ID" altLang="en-US" sz="2000" b="1" dirty="0" smtClean="0">
                <a:solidFill>
                  <a:schemeClr val="accent1">
                    <a:lumMod val="50000"/>
                  </a:schemeClr>
                </a:solidFill>
                <a:latin typeface="Agency FB" panose="020B0503020202020204" pitchFamily="34" charset="0"/>
              </a:rPr>
              <a:t>Otomatis secara Financial akan berdampak positif bagi PT. TASPEN</a:t>
            </a:r>
          </a:p>
          <a:p>
            <a:pPr algn="just" eaLnBrk="1" hangingPunct="1"/>
            <a:r>
              <a:rPr lang="id-ID" altLang="en-US" sz="2000" b="1" dirty="0" smtClean="0">
                <a:solidFill>
                  <a:schemeClr val="accent1">
                    <a:lumMod val="50000"/>
                  </a:schemeClr>
                </a:solidFill>
                <a:latin typeface="Agency FB" panose="020B0503020202020204" pitchFamily="34" charset="0"/>
              </a:rPr>
              <a:t>Pemegang saham PT. TASPEN = NEGARA RI &amp; PENSIUNAN/ASN </a:t>
            </a:r>
          </a:p>
        </p:txBody>
      </p:sp>
      <p:sp>
        <p:nvSpPr>
          <p:cNvPr id="31" name="Text Box 6"/>
          <p:cNvSpPr txBox="1">
            <a:spLocks noChangeArrowheads="1"/>
          </p:cNvSpPr>
          <p:nvPr/>
        </p:nvSpPr>
        <p:spPr bwMode="auto">
          <a:xfrm>
            <a:off x="1759876" y="6075627"/>
            <a:ext cx="7303441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/>
            <a:r>
              <a:rPr lang="id-ID" altLang="en-US" sz="2000" b="1" dirty="0" smtClean="0">
                <a:solidFill>
                  <a:schemeClr val="accent1">
                    <a:lumMod val="50000"/>
                  </a:schemeClr>
                </a:solidFill>
                <a:latin typeface="Agency FB" panose="020B0503020202020204" pitchFamily="34" charset="0"/>
              </a:rPr>
              <a:t>Financial TASPEN yang lebih baik akan berdampak positif kepada para </a:t>
            </a:r>
            <a:r>
              <a:rPr lang="id-ID" altLang="en-US" sz="2000" b="1" dirty="0" err="1" smtClean="0">
                <a:solidFill>
                  <a:schemeClr val="accent1">
                    <a:lumMod val="50000"/>
                  </a:schemeClr>
                </a:solidFill>
                <a:latin typeface="Agency FB" panose="020B0503020202020204" pitchFamily="34" charset="0"/>
              </a:rPr>
              <a:t>pensiunan</a:t>
            </a:r>
            <a:r>
              <a:rPr lang="id-ID" altLang="en-US" sz="2000" b="1" dirty="0" smtClean="0">
                <a:solidFill>
                  <a:schemeClr val="accent1">
                    <a:lumMod val="50000"/>
                  </a:schemeClr>
                </a:solidFill>
                <a:latin typeface="Agency FB" panose="020B0503020202020204" pitchFamily="34" charset="0"/>
              </a:rPr>
              <a:t> salah satunya untuk meningkatkan pelayanan terhadap </a:t>
            </a:r>
            <a:r>
              <a:rPr lang="id-ID" altLang="en-US" sz="2000" b="1" dirty="0" err="1" smtClean="0">
                <a:solidFill>
                  <a:schemeClr val="accent1">
                    <a:lumMod val="50000"/>
                  </a:schemeClr>
                </a:solidFill>
                <a:latin typeface="Agency FB" panose="020B0503020202020204" pitchFamily="34" charset="0"/>
              </a:rPr>
              <a:t>pensiunan</a:t>
            </a:r>
            <a:endParaRPr lang="en-AU" altLang="en-US" sz="2000" b="1" dirty="0">
              <a:solidFill>
                <a:schemeClr val="accent1">
                  <a:lumMod val="50000"/>
                </a:schemeClr>
              </a:solidFill>
              <a:latin typeface="Agency FB" panose="020B0503020202020204" pitchFamily="34" charset="0"/>
            </a:endParaRPr>
          </a:p>
        </p:txBody>
      </p:sp>
      <p:grpSp>
        <p:nvGrpSpPr>
          <p:cNvPr id="32" name="Group 52"/>
          <p:cNvGrpSpPr>
            <a:grpSpLocks/>
          </p:cNvGrpSpPr>
          <p:nvPr/>
        </p:nvGrpSpPr>
        <p:grpSpPr bwMode="auto">
          <a:xfrm>
            <a:off x="9500609" y="1487161"/>
            <a:ext cx="2521062" cy="1982179"/>
            <a:chOff x="1928793" y="1238258"/>
            <a:chExt cx="2368521" cy="1950302"/>
          </a:xfrm>
        </p:grpSpPr>
        <p:sp>
          <p:nvSpPr>
            <p:cNvPr id="33" name="WordArt 18"/>
            <p:cNvSpPr>
              <a:spLocks noChangeArrowheads="1" noChangeShapeType="1" noTextEdit="1"/>
            </p:cNvSpPr>
            <p:nvPr/>
          </p:nvSpPr>
          <p:spPr bwMode="auto">
            <a:xfrm>
              <a:off x="2571736" y="2881332"/>
              <a:ext cx="1071563" cy="307228"/>
            </a:xfrm>
            <a:prstGeom prst="rect">
              <a:avLst/>
            </a:prstGeom>
          </p:spPr>
          <p:txBody>
            <a:bodyPr wrap="none" fromWordArt="1">
              <a:prstTxWarp prst="textSlantUp">
                <a:avLst>
                  <a:gd name="adj" fmla="val 0"/>
                </a:avLst>
              </a:prstTxWarp>
            </a:bodyPr>
            <a:lstStyle/>
            <a:p>
              <a:pPr algn="ctr"/>
              <a:r>
                <a:rPr lang="id-ID" sz="3600" b="1" kern="10" dirty="0" smtClean="0">
                  <a:ln w="12700">
                    <a:solidFill>
                      <a:srgbClr val="054697"/>
                    </a:solidFill>
                    <a:round/>
                    <a:headEnd/>
                    <a:tailEnd/>
                  </a:ln>
                  <a:solidFill>
                    <a:srgbClr val="002060"/>
                  </a:solidFill>
                  <a:effectLst>
                    <a:outerShdw dist="20320" dir="1799969" algn="tl" rotWithShape="0">
                      <a:srgbClr val="000000">
                        <a:alpha val="39998"/>
                      </a:srgbClr>
                    </a:outerShdw>
                  </a:effectLst>
                  <a:latin typeface="Impact" panose="020B0806030902050204" pitchFamily="34" charset="0"/>
                </a:rPr>
                <a:t>Negara RI</a:t>
              </a:r>
              <a:endParaRPr lang="en-US" sz="3600" b="1" kern="10" dirty="0">
                <a:ln w="12700">
                  <a:solidFill>
                    <a:srgbClr val="054697"/>
                  </a:solidFill>
                  <a:round/>
                  <a:headEnd/>
                  <a:tailEnd/>
                </a:ln>
                <a:solidFill>
                  <a:srgbClr val="002060"/>
                </a:solidFill>
                <a:effectLst>
                  <a:outerShdw dist="20320" dir="1799969" algn="tl" rotWithShape="0">
                    <a:srgbClr val="000000">
                      <a:alpha val="39998"/>
                    </a:srgbClr>
                  </a:outerShdw>
                </a:effectLst>
                <a:latin typeface="Impact" panose="020B0806030902050204" pitchFamily="34" charset="0"/>
              </a:endParaRPr>
            </a:p>
          </p:txBody>
        </p:sp>
        <p:grpSp>
          <p:nvGrpSpPr>
            <p:cNvPr id="34" name="Group 67"/>
            <p:cNvGrpSpPr>
              <a:grpSpLocks/>
            </p:cNvGrpSpPr>
            <p:nvPr/>
          </p:nvGrpSpPr>
          <p:grpSpPr bwMode="auto">
            <a:xfrm>
              <a:off x="1928793" y="1238258"/>
              <a:ext cx="2368521" cy="1571612"/>
              <a:chOff x="2424096" y="1214422"/>
              <a:chExt cx="2368521" cy="1571612"/>
            </a:xfrm>
          </p:grpSpPr>
          <p:pic>
            <p:nvPicPr>
              <p:cNvPr id="35" name="Picture 3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24096" y="1214422"/>
                <a:ext cx="2368521" cy="15716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Picture 6" descr="C:\Users\Administrator\Pictures\bkn.jpg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57554" y="1285860"/>
                <a:ext cx="571504" cy="4445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pic>
        <p:nvPicPr>
          <p:cNvPr id="10" name="Picture 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0270" y="2343359"/>
            <a:ext cx="1579047" cy="111647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10919" y="4266865"/>
            <a:ext cx="1524000" cy="1808762"/>
          </a:xfrm>
          <a:prstGeom prst="rect">
            <a:avLst/>
          </a:prstGeom>
        </p:spPr>
      </p:pic>
      <p:sp>
        <p:nvSpPr>
          <p:cNvPr id="38" name="Text Box 6"/>
          <p:cNvSpPr txBox="1">
            <a:spLocks noChangeArrowheads="1"/>
          </p:cNvSpPr>
          <p:nvPr/>
        </p:nvSpPr>
        <p:spPr bwMode="auto">
          <a:xfrm>
            <a:off x="85839" y="3305427"/>
            <a:ext cx="300032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857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id-ID" altLang="en-US" b="1" dirty="0" smtClean="0">
                <a:latin typeface="Agency FB" panose="020B0503020202020204" pitchFamily="34" charset="0"/>
              </a:rPr>
              <a:t>Laba/ Keuntungan BANK MANTAP</a:t>
            </a:r>
            <a:endParaRPr lang="en-AU" altLang="en-US" b="1" dirty="0">
              <a:latin typeface="Agency FB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348694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500">
        <p14:ripple dir="ru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4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  <p:bldP spid="7" grpId="0" animBg="1"/>
      <p:bldP spid="8" grpId="0" animBg="1"/>
      <p:bldP spid="15" grpId="0"/>
      <p:bldP spid="30" grpId="0"/>
      <p:bldP spid="31" grpId="0"/>
      <p:bldP spid="3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" y="0"/>
            <a:ext cx="2260601" cy="6858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260602" y="1826775"/>
            <a:ext cx="827054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 err="1" smtClean="0">
                <a:solidFill>
                  <a:srgbClr val="1B3866"/>
                </a:solidFill>
                <a:latin typeface="Avenir Black" charset="0"/>
                <a:ea typeface="Avenir Black" charset="0"/>
                <a:cs typeface="Avenir Black" charset="0"/>
              </a:rPr>
              <a:t>Penawaran</a:t>
            </a:r>
            <a:r>
              <a:rPr lang="en-US" sz="2800" b="1" dirty="0" smtClean="0">
                <a:solidFill>
                  <a:srgbClr val="1B3866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  <a:r>
              <a:rPr lang="en-US" sz="2800" b="1" dirty="0" err="1" smtClean="0">
                <a:solidFill>
                  <a:srgbClr val="1B3866"/>
                </a:solidFill>
                <a:latin typeface="Avenir Black" charset="0"/>
                <a:ea typeface="Avenir Black" charset="0"/>
                <a:cs typeface="Avenir Black" charset="0"/>
              </a:rPr>
              <a:t>Kerjasama</a:t>
            </a:r>
            <a:r>
              <a:rPr lang="en-US" sz="2800" b="1" dirty="0" smtClean="0">
                <a:solidFill>
                  <a:srgbClr val="1B3866"/>
                </a:solidFill>
                <a:latin typeface="Avenir Black" charset="0"/>
                <a:ea typeface="Avenir Black" charset="0"/>
                <a:cs typeface="Avenir Black" charset="0"/>
              </a:rPr>
              <a:t>  </a:t>
            </a:r>
          </a:p>
          <a:p>
            <a:pPr algn="ctr"/>
            <a:r>
              <a:rPr lang="en-US" sz="2800" b="1" dirty="0" err="1" smtClean="0">
                <a:solidFill>
                  <a:srgbClr val="1B3866"/>
                </a:solidFill>
                <a:latin typeface="Avenir Black" charset="0"/>
                <a:ea typeface="Avenir Black" charset="0"/>
                <a:cs typeface="Avenir Black" charset="0"/>
              </a:rPr>
              <a:t>Universitas</a:t>
            </a:r>
            <a:r>
              <a:rPr lang="en-US" sz="2800" b="1" dirty="0" smtClean="0">
                <a:solidFill>
                  <a:srgbClr val="1B3866"/>
                </a:solidFill>
                <a:latin typeface="Avenir Black" charset="0"/>
                <a:ea typeface="Avenir Black" charset="0"/>
                <a:cs typeface="Avenir Black" charset="0"/>
              </a:rPr>
              <a:t> </a:t>
            </a:r>
            <a:r>
              <a:rPr lang="en-US" sz="2800" b="1" dirty="0" err="1" smtClean="0">
                <a:solidFill>
                  <a:srgbClr val="1B3866"/>
                </a:solidFill>
                <a:latin typeface="Avenir Black" charset="0"/>
                <a:ea typeface="Avenir Black" charset="0"/>
                <a:cs typeface="Avenir Black" charset="0"/>
              </a:rPr>
              <a:t>Negeri</a:t>
            </a:r>
            <a:r>
              <a:rPr lang="en-US" sz="2800" b="1" dirty="0" smtClean="0">
                <a:solidFill>
                  <a:srgbClr val="1B3866"/>
                </a:solidFill>
                <a:latin typeface="Avenir Black" charset="0"/>
                <a:ea typeface="Avenir Black" charset="0"/>
                <a:cs typeface="Avenir Black" charset="0"/>
              </a:rPr>
              <a:t> Malang </a:t>
            </a:r>
            <a:r>
              <a:rPr lang="en-US" sz="2800" b="1" dirty="0" err="1" smtClean="0">
                <a:solidFill>
                  <a:srgbClr val="1B3866"/>
                </a:solidFill>
                <a:latin typeface="Avenir Black" charset="0"/>
                <a:ea typeface="Avenir Black" charset="0"/>
                <a:cs typeface="Avenir Black" charset="0"/>
              </a:rPr>
              <a:t>dan</a:t>
            </a:r>
            <a:r>
              <a:rPr lang="en-US" sz="2800" b="1" dirty="0" smtClean="0">
                <a:solidFill>
                  <a:srgbClr val="1B3866"/>
                </a:solidFill>
                <a:latin typeface="Avenir Black" charset="0"/>
                <a:ea typeface="Avenir Black" charset="0"/>
                <a:cs typeface="Avenir Black" charset="0"/>
              </a:rPr>
              <a:t> Bank </a:t>
            </a:r>
            <a:r>
              <a:rPr lang="en-US" sz="2800" b="1" dirty="0" err="1" smtClean="0">
                <a:solidFill>
                  <a:srgbClr val="1B3866"/>
                </a:solidFill>
                <a:latin typeface="Avenir Black" charset="0"/>
                <a:ea typeface="Avenir Black" charset="0"/>
                <a:cs typeface="Avenir Black" charset="0"/>
              </a:rPr>
              <a:t>Mantap</a:t>
            </a:r>
            <a:endParaRPr lang="en-US" sz="2800" dirty="0">
              <a:latin typeface="Avenir Roman" charset="0"/>
              <a:ea typeface="Avenir Roman" charset="0"/>
              <a:cs typeface="Avenir Roman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2260602" y="3063240"/>
            <a:ext cx="10127023" cy="3794760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9273749" y="1007910"/>
            <a:ext cx="1760560" cy="818865"/>
            <a:chOff x="8556171" y="114300"/>
            <a:chExt cx="3380015" cy="1706880"/>
          </a:xfrm>
        </p:grpSpPr>
        <p:sp>
          <p:nvSpPr>
            <p:cNvPr id="11" name="Rectangle 10"/>
            <p:cNvSpPr/>
            <p:nvPr/>
          </p:nvSpPr>
          <p:spPr>
            <a:xfrm>
              <a:off x="8556171" y="114300"/>
              <a:ext cx="3380015" cy="17068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9296729" y="331470"/>
              <a:ext cx="2481453" cy="12725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="" val="1916114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jfjcIbrUevnndpVaN8c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ShAL6kUEWIBicAsnFVl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5js71OnkmilxirPFE4.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8EzsWLhkqhqRNNPx5KD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.meHkPzEyaXWfNgFnAZ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jAsFlEI0K53O7JOwSFu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fjMmgKaEeQ71aoc4_oG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ba72RrRkycFF_IQYGW2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jPSfT730WnppZn6bVDu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Els52EgkCfoq65VfgMN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1llDCOp0eJ.AhNvicwC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HzgqQwY0.MOz2YKZR4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wIYUnR1Uew1RJGNI.WS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TYOcE0mEu7U5FwbvV8B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.vSAaRIsUSxGYnN_j_Wv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tFLDyI2kKmbR6CvLKBc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V6UKP6tE2rqumstgMJR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nD9kN7vUi0O_mjMwaL3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bJXIZFq0ycNAeizav6o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9ETeN6_kGdsVdicJcgF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sFmZaAWku2hIaLpYSC3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ToNthHYkacetJr51nMO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_xaTeaxFk6My2NiehIti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nFt1qpMESqnX6re3TO8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qpdw92uUO8lkmjW.5LJ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1ZiUzioE.BY.a.Br0aD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EdzedvtkSemQmUv_YGb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cyxfKQNEueJjlgMZ2CA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joHVvOmUqShXgL.B4gh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RP4bS4gk2PiF8V.BDP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244oc.VUKPZCryOtdR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2Z7fvELk6R0kHKuVdH0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ZZ8a.UEk2eXkZQGE0d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iFg_IA6kmG1kLg8SQL8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GWGIQyhEKQscl5G66gh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XcvzZp_0ezN2p6Fnrjs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PF6aZBBUOx0AxNiuQU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Ujzndw6UWRNqeplEBZH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oOWHDZBkOnwBtBeAiL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_jLu.qYEanZmTlXXquv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HThAd7SEuEcI0g2ZSp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AZ9lcddU2rxft7KeBoQ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vqLkxC9Ea.qOsTyL9ml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Tjt46zmU24PdYGCZQn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1Avm28.ECqxDOMQG3f.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_bzLfJgEqiBhJ2G1aR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9T3lqCUkeEo94zeTOO6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bU5Ze4HkaBuJfjCYdw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mggmcc1UiVZFJmyBMAK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iaFeT1zUS1RDl84OY41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8VJhjp50a71ivKp6xfj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F3Aah6YEiLY1gCz7oQC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htTmbQSUKZpiNV6y0_g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BI_w57ZEOMrpARod1mF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rs5NRjMkehvXD0IDpf1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sLR7XfzEK1qtEFb6khW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_epLshQkmFiAoVIR.Y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oGTbBIiEKui1MTb1biv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vYHbnB1kq_p6f2CRr9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tyVadsKEu74pDwC4WCN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V1WwuDrk2oLuqLLsQd_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_56_jdtEGMvMNXj6efZ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5kLPtQ3EeQoMF7jN0pW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lc.H8FdUy1cLaLZJzna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y3M3LbUmJOzI_2F72G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NoToC5ZkC45W5KgRcnm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ZQ872ZNk6k6_nfazMbr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Iqt__BM0qjgBnhpj54g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OAG5DNukKZVH8SCvG92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WhYoSJWEOBjSzKe7nYA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xhO_pZlES5D40KtQ6pN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QJRnM70.cxrqA0t4sM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eH06TEjUqMNlzk0PoRd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CKozmX4Emc.dE.bLmuM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ZA_1LyTkmro1MWeQXLK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k5yC8p6UCiRfDT8qR3Y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WAQ34J2EqyvWdsmXpyf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UKPylTXEWoJePN0s1Rq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Y2RPIMzUGzGS1WUB9za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JGnjn2t0mITt1j4BSS1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DtFKMF_ECgC43FOLaK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k1yYv0JkuLpHfQPBiMW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C.el_5kk2BK48lFo1VY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hNYB.kXUO_YFRoTVFyJ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oSmUIkAkmK76YWd9dZj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IKSkjE8kC9ybaLFdNlv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9ROmsiIAEC1.831BFy..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Pgt4DZlkuXLSI_4nmJk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yEkHpX60SeVytwTlfG9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D2WS50QkWWqpZJShINP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Vx0eIwgU.f2ZooNd8B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8TBZHFqkGl1ZyuQTqK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jsN7BMR0G9zXJaTYy3A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cUBrKhfUm6xs1uiYx4l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JM0la4SE._iPTnvu.QL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FLNUcwdkW1Vk6dCp4xK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o5LaMUEkujeQ5lC60DS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nX7cid_Uy2gZc6RilEv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5UI26rAUepSFlfZbue8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6LMnYuOjU..MVMftQsMW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NMqSaZTkOYbH8PgHOvR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jd7M_.gkqoxm280Vj5y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iuL0yvREqbn_awZyPi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UL.BuFM0GSispntxujD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PKX1kEi0uzJMPyCd9cK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u0alK6gEWSe7El9GKT3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5P6faoJE2IpB7vEELQv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wSDz8lfU657gBZ29aaQ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Xd9ukNQEyQn1hvdosc1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ztHucaskmNpdTgGq4ZI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lrNJIWwEWs.rpI_NGdy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otWaTEfkafAUpxArTqb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YPlbYwpUav0PDY22U6V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wX7l22.0mtD5m11xAH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Tvc5FkYE.sB7xZxqgqE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57hkVoMkCgCKgsqnS.3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akTrv9FUyOGbdJ7XUD6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peK4fll0yuewlqfmVCe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DKRsWEf0.oLpl8387S8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_jLnlUJUqyEcMdIrmu2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RsMJAolUmvWwGgOMytt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KvapR4tkmSEgP7ee8_n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DTUWxWkEysRMWsVPRLJ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tYh6pDcUKJN2mthkNYL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BOaIsaV0eXFspBeTQow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97</TotalTime>
  <Words>1078</Words>
  <Application>Microsoft Office PowerPoint</Application>
  <PresentationFormat>Custom</PresentationFormat>
  <Paragraphs>236</Paragraphs>
  <Slides>37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37</vt:i4>
      </vt:variant>
    </vt:vector>
  </HeadingPairs>
  <TitlesOfParts>
    <vt:vector size="42" baseType="lpstr">
      <vt:lpstr>Office Theme</vt:lpstr>
      <vt:lpstr>1_Office Theme</vt:lpstr>
      <vt:lpstr>1_Custom Design</vt:lpstr>
      <vt:lpstr>2_Custom Design</vt:lpstr>
      <vt:lpstr>4_Custom Design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  <vt:lpstr>Slide 32</vt:lpstr>
      <vt:lpstr>Slide 33</vt:lpstr>
      <vt:lpstr>Slide 34</vt:lpstr>
      <vt:lpstr>Slide 35</vt:lpstr>
      <vt:lpstr>Slide 36</vt:lpstr>
      <vt:lpstr>Slide 3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enovo</dc:creator>
  <cp:lastModifiedBy>pasar</cp:lastModifiedBy>
  <cp:revision>176</cp:revision>
  <cp:lastPrinted>2016-04-06T14:40:47Z</cp:lastPrinted>
  <dcterms:created xsi:type="dcterms:W3CDTF">2015-11-06T02:46:04Z</dcterms:created>
  <dcterms:modified xsi:type="dcterms:W3CDTF">2017-08-03T01:19:42Z</dcterms:modified>
</cp:coreProperties>
</file>